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Default Extension="xlsx" ContentType="application/vnd.openxmlformats-officedocument.spreadsheetml.sheet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slides/slide77.xml" ContentType="application/vnd.openxmlformats-officedocument.presentationml.slide+xml"/>
  <Default Extension="png" ContentType="image/png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customXml/itemProps2.xml" ContentType="application/vnd.openxmlformats-officedocument.customXmlProperties+xml"/>
  <Override PartName="/ppt/slides/slide55.xml" ContentType="application/vnd.openxmlformats-officedocument.presentationml.slide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Default Extension="emf" ContentType="image/x-emf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s/slide49.xml" ContentType="application/vnd.openxmlformats-officedocument.presentationml.slide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slides/slide38.xml" ContentType="application/vnd.openxmlformats-officedocument.presentationml.slide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Default Extension="rels" ContentType="application/vnd.openxmlformats-package.relationship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slides/slide79.xml" ContentType="application/vnd.openxmlformats-officedocument.presentationml.slide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Default Extension="jpeg" ContentType="image/jpeg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Default Extension="jpg" ContentType="image/jpeg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customXml/itemProps1.xml" ContentType="application/vnd.openxmlformats-officedocument.customXmlPropertie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slides/slide48.xml" ContentType="application/vnd.openxmlformats-officedocument.presentationml.slide+xml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slides/slide40.xml" ContentType="application/vnd.openxmlformats-officedocument.presentationml.slide+xml"/>
  <Override PartName="/ppt/slideLayouts/slideLayout50.xml" ContentType="application/vnd.openxmlformats-officedocument.presentationml.slideLayout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slides/slide78.xml" ContentType="application/vnd.openxmlformats-officedocument.presentationml.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4" r:id="rId4"/>
    <p:sldMasterId id="2147483688" r:id="rId5"/>
    <p:sldMasterId id="2147483703" r:id="rId6"/>
  </p:sldMasterIdLst>
  <p:notesMasterIdLst>
    <p:notesMasterId r:id="rId86"/>
  </p:notesMasterIdLst>
  <p:sldIdLst>
    <p:sldId id="256" r:id="rId7"/>
    <p:sldId id="267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4" r:id="rId19"/>
    <p:sldId id="325" r:id="rId20"/>
    <p:sldId id="326" r:id="rId21"/>
    <p:sldId id="327" r:id="rId22"/>
    <p:sldId id="328" r:id="rId23"/>
    <p:sldId id="329" r:id="rId24"/>
    <p:sldId id="330" r:id="rId25"/>
    <p:sldId id="331" r:id="rId26"/>
    <p:sldId id="332" r:id="rId27"/>
    <p:sldId id="333" r:id="rId28"/>
    <p:sldId id="334" r:id="rId29"/>
    <p:sldId id="335" r:id="rId30"/>
    <p:sldId id="336" r:id="rId31"/>
    <p:sldId id="337" r:id="rId32"/>
    <p:sldId id="338" r:id="rId33"/>
    <p:sldId id="339" r:id="rId34"/>
    <p:sldId id="340" r:id="rId35"/>
    <p:sldId id="341" r:id="rId36"/>
    <p:sldId id="342" r:id="rId37"/>
    <p:sldId id="343" r:id="rId38"/>
    <p:sldId id="344" r:id="rId39"/>
    <p:sldId id="268" r:id="rId40"/>
    <p:sldId id="271" r:id="rId41"/>
    <p:sldId id="272" r:id="rId42"/>
    <p:sldId id="273" r:id="rId43"/>
    <p:sldId id="274" r:id="rId44"/>
    <p:sldId id="275" r:id="rId45"/>
    <p:sldId id="276" r:id="rId46"/>
    <p:sldId id="277" r:id="rId47"/>
    <p:sldId id="278" r:id="rId48"/>
    <p:sldId id="279" r:id="rId49"/>
    <p:sldId id="280" r:id="rId50"/>
    <p:sldId id="281" r:id="rId51"/>
    <p:sldId id="269" r:id="rId52"/>
    <p:sldId id="304" r:id="rId53"/>
    <p:sldId id="305" r:id="rId54"/>
    <p:sldId id="306" r:id="rId55"/>
    <p:sldId id="307" r:id="rId56"/>
    <p:sldId id="308" r:id="rId57"/>
    <p:sldId id="309" r:id="rId58"/>
    <p:sldId id="310" r:id="rId59"/>
    <p:sldId id="311" r:id="rId60"/>
    <p:sldId id="312" r:id="rId61"/>
    <p:sldId id="313" r:id="rId62"/>
    <p:sldId id="270" r:id="rId63"/>
    <p:sldId id="282" r:id="rId64"/>
    <p:sldId id="283" r:id="rId65"/>
    <p:sldId id="284" r:id="rId66"/>
    <p:sldId id="285" r:id="rId67"/>
    <p:sldId id="286" r:id="rId68"/>
    <p:sldId id="287" r:id="rId69"/>
    <p:sldId id="288" r:id="rId70"/>
    <p:sldId id="289" r:id="rId71"/>
    <p:sldId id="290" r:id="rId72"/>
    <p:sldId id="291" r:id="rId73"/>
    <p:sldId id="292" r:id="rId74"/>
    <p:sldId id="293" r:id="rId75"/>
    <p:sldId id="294" r:id="rId76"/>
    <p:sldId id="295" r:id="rId77"/>
    <p:sldId id="296" r:id="rId78"/>
    <p:sldId id="297" r:id="rId79"/>
    <p:sldId id="298" r:id="rId80"/>
    <p:sldId id="299" r:id="rId81"/>
    <p:sldId id="300" r:id="rId82"/>
    <p:sldId id="301" r:id="rId83"/>
    <p:sldId id="302" r:id="rId84"/>
    <p:sldId id="303" r:id="rId8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-161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theme" Target="theme/theme1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5" Type="http://schemas.openxmlformats.org/officeDocument/2006/relationships/slideMaster" Target="slideMasters/slideMaster5.xml"/><Relationship Id="rId90" Type="http://schemas.openxmlformats.org/officeDocument/2006/relationships/tableStyles" Target="tableStyles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customXml" Target="../customXml/item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viewProps" Target="viewProps.xml"/><Relationship Id="rId91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presProps" Target="presProps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56" Type="http://schemas.openxmlformats.org/officeDocument/2006/relationships/slide" Target="slides/slide50.xml"/><Relationship Id="rId77" Type="http://schemas.openxmlformats.org/officeDocument/2006/relationships/slide" Target="slides/slide7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rry%20Fougere\Documents\BigBelly\Collection%20volume%20graph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rry%20Fougere\Documents\BigBelly\Collection%20volume%20graph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en-US" sz="1600" dirty="0" smtClean="0"/>
              <a:t>% Capacity per Bin along a Route</a:t>
            </a:r>
            <a:endParaRPr lang="en-US" sz="1600" dirty="0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5970176"/>
        <c:axId val="69863680"/>
      </c:barChart>
      <c:catAx>
        <c:axId val="25970176"/>
        <c:scaling>
          <c:orientation val="minMax"/>
        </c:scaling>
        <c:delete val="1"/>
        <c:axPos val="b"/>
        <c:majorTickMark val="out"/>
        <c:minorTickMark val="none"/>
        <c:tickLblPos val="none"/>
        <c:crossAx val="69863680"/>
        <c:crosses val="autoZero"/>
        <c:auto val="1"/>
        <c:lblAlgn val="ctr"/>
        <c:lblOffset val="100"/>
        <c:noMultiLvlLbl val="0"/>
      </c:catAx>
      <c:valAx>
        <c:axId val="69863680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one"/>
        <c:crossAx val="25970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 smtClean="0"/>
              <a:t>Collection Requirements per Location</a:t>
            </a:r>
            <a:endParaRPr lang="en-US" sz="1400" dirty="0"/>
          </a:p>
        </c:rich>
      </c:tx>
      <c:overlay val="0"/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Capacity per Bin</c:v>
                </c:pt>
              </c:strCache>
            </c:strRef>
          </c:tx>
          <c:val>
            <c:numRef>
              <c:f>Sheet1!$B$2:$B$81</c:f>
              <c:numCache>
                <c:formatCode>General</c:formatCode>
                <c:ptCount val="80"/>
                <c:pt idx="0">
                  <c:v>5</c:v>
                </c:pt>
                <c:pt idx="1">
                  <c:v>2</c:v>
                </c:pt>
                <c:pt idx="2">
                  <c:v>10</c:v>
                </c:pt>
                <c:pt idx="3">
                  <c:v>12</c:v>
                </c:pt>
                <c:pt idx="4">
                  <c:v>20</c:v>
                </c:pt>
                <c:pt idx="5">
                  <c:v>25</c:v>
                </c:pt>
                <c:pt idx="6">
                  <c:v>18</c:v>
                </c:pt>
                <c:pt idx="7">
                  <c:v>12</c:v>
                </c:pt>
                <c:pt idx="8">
                  <c:v>4</c:v>
                </c:pt>
                <c:pt idx="9">
                  <c:v>6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4</c:v>
                </c:pt>
                <c:pt idx="14">
                  <c:v>1</c:v>
                </c:pt>
                <c:pt idx="15">
                  <c:v>5</c:v>
                </c:pt>
                <c:pt idx="16">
                  <c:v>7</c:v>
                </c:pt>
                <c:pt idx="17">
                  <c:v>2</c:v>
                </c:pt>
                <c:pt idx="18">
                  <c:v>5</c:v>
                </c:pt>
                <c:pt idx="19">
                  <c:v>7</c:v>
                </c:pt>
                <c:pt idx="20">
                  <c:v>3</c:v>
                </c:pt>
                <c:pt idx="21">
                  <c:v>5</c:v>
                </c:pt>
                <c:pt idx="22">
                  <c:v>2</c:v>
                </c:pt>
                <c:pt idx="23">
                  <c:v>8</c:v>
                </c:pt>
                <c:pt idx="24">
                  <c:v>19</c:v>
                </c:pt>
                <c:pt idx="25">
                  <c:v>6</c:v>
                </c:pt>
                <c:pt idx="26">
                  <c:v>4</c:v>
                </c:pt>
                <c:pt idx="27">
                  <c:v>24</c:v>
                </c:pt>
                <c:pt idx="28">
                  <c:v>2</c:v>
                </c:pt>
                <c:pt idx="29">
                  <c:v>6</c:v>
                </c:pt>
                <c:pt idx="30">
                  <c:v>3</c:v>
                </c:pt>
                <c:pt idx="31">
                  <c:v>1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8</c:v>
                </c:pt>
                <c:pt idx="36">
                  <c:v>6</c:v>
                </c:pt>
                <c:pt idx="37">
                  <c:v>9</c:v>
                </c:pt>
                <c:pt idx="38">
                  <c:v>8</c:v>
                </c:pt>
                <c:pt idx="39">
                  <c:v>4</c:v>
                </c:pt>
                <c:pt idx="40">
                  <c:v>14</c:v>
                </c:pt>
                <c:pt idx="41">
                  <c:v>5</c:v>
                </c:pt>
                <c:pt idx="42">
                  <c:v>4</c:v>
                </c:pt>
                <c:pt idx="43">
                  <c:v>6</c:v>
                </c:pt>
                <c:pt idx="44">
                  <c:v>8</c:v>
                </c:pt>
                <c:pt idx="45">
                  <c:v>4</c:v>
                </c:pt>
                <c:pt idx="46">
                  <c:v>6</c:v>
                </c:pt>
                <c:pt idx="47">
                  <c:v>3</c:v>
                </c:pt>
                <c:pt idx="48">
                  <c:v>2</c:v>
                </c:pt>
                <c:pt idx="49">
                  <c:v>1</c:v>
                </c:pt>
                <c:pt idx="50">
                  <c:v>3</c:v>
                </c:pt>
                <c:pt idx="51">
                  <c:v>1</c:v>
                </c:pt>
                <c:pt idx="52">
                  <c:v>4</c:v>
                </c:pt>
                <c:pt idx="53">
                  <c:v>2</c:v>
                </c:pt>
                <c:pt idx="54">
                  <c:v>8</c:v>
                </c:pt>
                <c:pt idx="55">
                  <c:v>6</c:v>
                </c:pt>
                <c:pt idx="56">
                  <c:v>16</c:v>
                </c:pt>
                <c:pt idx="57">
                  <c:v>14</c:v>
                </c:pt>
                <c:pt idx="58">
                  <c:v>6</c:v>
                </c:pt>
                <c:pt idx="59">
                  <c:v>4</c:v>
                </c:pt>
                <c:pt idx="60">
                  <c:v>8</c:v>
                </c:pt>
                <c:pt idx="61">
                  <c:v>4</c:v>
                </c:pt>
                <c:pt idx="62">
                  <c:v>2</c:v>
                </c:pt>
                <c:pt idx="63">
                  <c:v>16</c:v>
                </c:pt>
                <c:pt idx="64">
                  <c:v>24</c:v>
                </c:pt>
                <c:pt idx="65">
                  <c:v>19</c:v>
                </c:pt>
                <c:pt idx="66">
                  <c:v>22</c:v>
                </c:pt>
                <c:pt idx="67">
                  <c:v>25</c:v>
                </c:pt>
                <c:pt idx="68">
                  <c:v>16</c:v>
                </c:pt>
                <c:pt idx="69">
                  <c:v>23</c:v>
                </c:pt>
                <c:pt idx="70">
                  <c:v>14</c:v>
                </c:pt>
                <c:pt idx="71">
                  <c:v>6</c:v>
                </c:pt>
                <c:pt idx="72">
                  <c:v>3</c:v>
                </c:pt>
                <c:pt idx="73">
                  <c:v>7</c:v>
                </c:pt>
                <c:pt idx="74">
                  <c:v>2</c:v>
                </c:pt>
                <c:pt idx="75">
                  <c:v>1</c:v>
                </c:pt>
                <c:pt idx="76">
                  <c:v>2</c:v>
                </c:pt>
                <c:pt idx="77">
                  <c:v>1</c:v>
                </c:pt>
                <c:pt idx="78">
                  <c:v>2</c:v>
                </c:pt>
                <c:pt idx="79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166400"/>
        <c:axId val="70167936"/>
      </c:areaChart>
      <c:catAx>
        <c:axId val="70166400"/>
        <c:scaling>
          <c:orientation val="minMax"/>
        </c:scaling>
        <c:delete val="1"/>
        <c:axPos val="b"/>
        <c:majorTickMark val="out"/>
        <c:minorTickMark val="none"/>
        <c:tickLblPos val="none"/>
        <c:crossAx val="70167936"/>
        <c:crosses val="autoZero"/>
        <c:auto val="1"/>
        <c:lblAlgn val="ctr"/>
        <c:lblOffset val="100"/>
        <c:noMultiLvlLbl val="0"/>
      </c:catAx>
      <c:valAx>
        <c:axId val="70167936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one"/>
        <c:crossAx val="70166400"/>
        <c:crosses val="autoZero"/>
        <c:crossBetween val="midCat"/>
        <c:maj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 smtClean="0"/>
              <a:t>Collection Requirements per Location (Before)</a:t>
            </a:r>
            <a:endParaRPr lang="en-US" sz="1400" dirty="0"/>
          </a:p>
        </c:rich>
      </c:tx>
      <c:overlay val="0"/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'[Collection volume graphs.xlsx]Sheet1'!$B$1</c:f>
              <c:strCache>
                <c:ptCount val="1"/>
                <c:pt idx="0">
                  <c:v>Trash Volume per Bin</c:v>
                </c:pt>
              </c:strCache>
            </c:strRef>
          </c:tx>
          <c:val>
            <c:numRef>
              <c:f>'[Collection volume graphs.xlsx]Sheet1'!$B$2:$B$81</c:f>
              <c:numCache>
                <c:formatCode>General</c:formatCode>
                <c:ptCount val="80"/>
                <c:pt idx="0">
                  <c:v>5</c:v>
                </c:pt>
                <c:pt idx="1">
                  <c:v>2</c:v>
                </c:pt>
                <c:pt idx="2">
                  <c:v>10</c:v>
                </c:pt>
                <c:pt idx="3">
                  <c:v>12</c:v>
                </c:pt>
                <c:pt idx="4">
                  <c:v>20</c:v>
                </c:pt>
                <c:pt idx="5">
                  <c:v>25</c:v>
                </c:pt>
                <c:pt idx="6">
                  <c:v>18</c:v>
                </c:pt>
                <c:pt idx="7">
                  <c:v>12</c:v>
                </c:pt>
                <c:pt idx="8">
                  <c:v>4</c:v>
                </c:pt>
                <c:pt idx="9">
                  <c:v>6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4</c:v>
                </c:pt>
                <c:pt idx="14">
                  <c:v>1</c:v>
                </c:pt>
                <c:pt idx="15">
                  <c:v>5</c:v>
                </c:pt>
                <c:pt idx="16">
                  <c:v>7</c:v>
                </c:pt>
                <c:pt idx="17">
                  <c:v>2</c:v>
                </c:pt>
                <c:pt idx="18">
                  <c:v>5</c:v>
                </c:pt>
                <c:pt idx="19">
                  <c:v>7</c:v>
                </c:pt>
                <c:pt idx="20">
                  <c:v>3</c:v>
                </c:pt>
                <c:pt idx="21">
                  <c:v>5</c:v>
                </c:pt>
                <c:pt idx="22">
                  <c:v>2</c:v>
                </c:pt>
                <c:pt idx="23">
                  <c:v>8</c:v>
                </c:pt>
                <c:pt idx="24">
                  <c:v>19</c:v>
                </c:pt>
                <c:pt idx="25">
                  <c:v>6</c:v>
                </c:pt>
                <c:pt idx="26">
                  <c:v>4</c:v>
                </c:pt>
                <c:pt idx="27">
                  <c:v>24</c:v>
                </c:pt>
                <c:pt idx="28">
                  <c:v>2</c:v>
                </c:pt>
                <c:pt idx="29">
                  <c:v>6</c:v>
                </c:pt>
                <c:pt idx="30">
                  <c:v>3</c:v>
                </c:pt>
                <c:pt idx="31">
                  <c:v>1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8</c:v>
                </c:pt>
                <c:pt idx="36">
                  <c:v>6</c:v>
                </c:pt>
                <c:pt idx="37">
                  <c:v>9</c:v>
                </c:pt>
                <c:pt idx="38">
                  <c:v>8</c:v>
                </c:pt>
                <c:pt idx="39">
                  <c:v>4</c:v>
                </c:pt>
                <c:pt idx="40">
                  <c:v>14</c:v>
                </c:pt>
                <c:pt idx="41">
                  <c:v>5</c:v>
                </c:pt>
                <c:pt idx="42">
                  <c:v>4</c:v>
                </c:pt>
                <c:pt idx="43">
                  <c:v>6</c:v>
                </c:pt>
                <c:pt idx="44">
                  <c:v>8</c:v>
                </c:pt>
                <c:pt idx="45">
                  <c:v>4</c:v>
                </c:pt>
                <c:pt idx="46">
                  <c:v>6</c:v>
                </c:pt>
                <c:pt idx="47">
                  <c:v>3</c:v>
                </c:pt>
                <c:pt idx="48">
                  <c:v>2</c:v>
                </c:pt>
                <c:pt idx="49">
                  <c:v>1</c:v>
                </c:pt>
                <c:pt idx="50">
                  <c:v>3</c:v>
                </c:pt>
                <c:pt idx="51">
                  <c:v>1</c:v>
                </c:pt>
                <c:pt idx="52">
                  <c:v>4</c:v>
                </c:pt>
                <c:pt idx="53">
                  <c:v>2</c:v>
                </c:pt>
                <c:pt idx="54">
                  <c:v>8</c:v>
                </c:pt>
                <c:pt idx="55">
                  <c:v>6</c:v>
                </c:pt>
                <c:pt idx="56">
                  <c:v>16</c:v>
                </c:pt>
                <c:pt idx="57">
                  <c:v>14</c:v>
                </c:pt>
                <c:pt idx="58">
                  <c:v>6</c:v>
                </c:pt>
                <c:pt idx="59">
                  <c:v>4</c:v>
                </c:pt>
                <c:pt idx="60">
                  <c:v>8</c:v>
                </c:pt>
                <c:pt idx="61">
                  <c:v>4</c:v>
                </c:pt>
                <c:pt idx="62">
                  <c:v>2</c:v>
                </c:pt>
                <c:pt idx="63">
                  <c:v>16</c:v>
                </c:pt>
                <c:pt idx="64">
                  <c:v>24</c:v>
                </c:pt>
                <c:pt idx="65">
                  <c:v>19</c:v>
                </c:pt>
                <c:pt idx="66">
                  <c:v>22</c:v>
                </c:pt>
                <c:pt idx="67">
                  <c:v>25</c:v>
                </c:pt>
                <c:pt idx="68">
                  <c:v>16</c:v>
                </c:pt>
                <c:pt idx="69">
                  <c:v>23</c:v>
                </c:pt>
                <c:pt idx="70">
                  <c:v>14</c:v>
                </c:pt>
                <c:pt idx="71">
                  <c:v>6</c:v>
                </c:pt>
                <c:pt idx="72">
                  <c:v>3</c:v>
                </c:pt>
                <c:pt idx="73">
                  <c:v>7</c:v>
                </c:pt>
                <c:pt idx="74">
                  <c:v>2</c:v>
                </c:pt>
                <c:pt idx="75">
                  <c:v>1</c:v>
                </c:pt>
                <c:pt idx="76">
                  <c:v>2</c:v>
                </c:pt>
                <c:pt idx="77">
                  <c:v>1</c:v>
                </c:pt>
                <c:pt idx="78">
                  <c:v>2</c:v>
                </c:pt>
                <c:pt idx="79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2232832"/>
        <c:axId val="82245504"/>
      </c:areaChart>
      <c:catAx>
        <c:axId val="82232832"/>
        <c:scaling>
          <c:orientation val="minMax"/>
        </c:scaling>
        <c:delete val="1"/>
        <c:axPos val="b"/>
        <c:majorTickMark val="out"/>
        <c:minorTickMark val="none"/>
        <c:tickLblPos val="none"/>
        <c:crossAx val="82245504"/>
        <c:crosses val="autoZero"/>
        <c:auto val="1"/>
        <c:lblAlgn val="ctr"/>
        <c:lblOffset val="100"/>
        <c:noMultiLvlLbl val="0"/>
      </c:catAx>
      <c:valAx>
        <c:axId val="82245504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one"/>
        <c:crossAx val="8223283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 smtClean="0"/>
              <a:t>Collection Requirements per Location (After</a:t>
            </a:r>
            <a:r>
              <a:rPr lang="en-US" sz="1400" dirty="0"/>
              <a:t>)</a:t>
            </a:r>
          </a:p>
        </c:rich>
      </c:tx>
      <c:overlay val="0"/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% Capacity per Bin</c:v>
                </c:pt>
              </c:strCache>
            </c:strRef>
          </c:tx>
          <c:val>
            <c:numRef>
              <c:f>Sheet1!$D$2:$D$81</c:f>
              <c:numCache>
                <c:formatCode>General</c:formatCode>
                <c:ptCount val="80"/>
                <c:pt idx="0">
                  <c:v>3</c:v>
                </c:pt>
                <c:pt idx="1">
                  <c:v>2</c:v>
                </c:pt>
                <c:pt idx="2">
                  <c:v>2.5</c:v>
                </c:pt>
                <c:pt idx="3">
                  <c:v>3</c:v>
                </c:pt>
                <c:pt idx="4">
                  <c:v>5</c:v>
                </c:pt>
                <c:pt idx="5">
                  <c:v>6.25</c:v>
                </c:pt>
                <c:pt idx="6">
                  <c:v>4.5</c:v>
                </c:pt>
                <c:pt idx="7">
                  <c:v>3</c:v>
                </c:pt>
                <c:pt idx="8">
                  <c:v>4</c:v>
                </c:pt>
                <c:pt idx="9">
                  <c:v>1.5</c:v>
                </c:pt>
                <c:pt idx="10">
                  <c:v>2</c:v>
                </c:pt>
                <c:pt idx="11">
                  <c:v>1</c:v>
                </c:pt>
                <c:pt idx="12">
                  <c:v>1</c:v>
                </c:pt>
                <c:pt idx="13">
                  <c:v>4</c:v>
                </c:pt>
                <c:pt idx="14">
                  <c:v>1</c:v>
                </c:pt>
                <c:pt idx="15">
                  <c:v>5</c:v>
                </c:pt>
                <c:pt idx="16">
                  <c:v>1.75</c:v>
                </c:pt>
                <c:pt idx="17">
                  <c:v>2</c:v>
                </c:pt>
                <c:pt idx="18">
                  <c:v>5</c:v>
                </c:pt>
                <c:pt idx="19">
                  <c:v>1.75</c:v>
                </c:pt>
                <c:pt idx="20">
                  <c:v>3</c:v>
                </c:pt>
                <c:pt idx="21">
                  <c:v>5</c:v>
                </c:pt>
                <c:pt idx="22">
                  <c:v>2</c:v>
                </c:pt>
                <c:pt idx="23">
                  <c:v>2</c:v>
                </c:pt>
                <c:pt idx="24">
                  <c:v>4.75</c:v>
                </c:pt>
                <c:pt idx="25">
                  <c:v>1.5</c:v>
                </c:pt>
                <c:pt idx="26">
                  <c:v>4</c:v>
                </c:pt>
                <c:pt idx="27">
                  <c:v>6</c:v>
                </c:pt>
                <c:pt idx="28">
                  <c:v>2</c:v>
                </c:pt>
                <c:pt idx="29">
                  <c:v>1.5</c:v>
                </c:pt>
                <c:pt idx="30">
                  <c:v>3</c:v>
                </c:pt>
                <c:pt idx="31">
                  <c:v>1</c:v>
                </c:pt>
                <c:pt idx="32">
                  <c:v>2</c:v>
                </c:pt>
                <c:pt idx="33">
                  <c:v>3</c:v>
                </c:pt>
                <c:pt idx="34">
                  <c:v>5</c:v>
                </c:pt>
                <c:pt idx="35">
                  <c:v>2</c:v>
                </c:pt>
                <c:pt idx="36">
                  <c:v>1.5</c:v>
                </c:pt>
                <c:pt idx="37">
                  <c:v>2.25</c:v>
                </c:pt>
                <c:pt idx="38">
                  <c:v>2</c:v>
                </c:pt>
                <c:pt idx="39">
                  <c:v>4</c:v>
                </c:pt>
                <c:pt idx="40">
                  <c:v>3.5</c:v>
                </c:pt>
                <c:pt idx="41">
                  <c:v>5</c:v>
                </c:pt>
                <c:pt idx="42">
                  <c:v>4</c:v>
                </c:pt>
                <c:pt idx="43">
                  <c:v>1.5</c:v>
                </c:pt>
                <c:pt idx="44">
                  <c:v>2</c:v>
                </c:pt>
                <c:pt idx="45">
                  <c:v>4</c:v>
                </c:pt>
                <c:pt idx="46">
                  <c:v>1.5</c:v>
                </c:pt>
                <c:pt idx="47">
                  <c:v>3</c:v>
                </c:pt>
                <c:pt idx="48">
                  <c:v>2</c:v>
                </c:pt>
                <c:pt idx="49">
                  <c:v>1</c:v>
                </c:pt>
                <c:pt idx="50">
                  <c:v>3</c:v>
                </c:pt>
                <c:pt idx="51">
                  <c:v>1</c:v>
                </c:pt>
                <c:pt idx="52">
                  <c:v>4</c:v>
                </c:pt>
                <c:pt idx="53">
                  <c:v>2</c:v>
                </c:pt>
                <c:pt idx="54">
                  <c:v>2</c:v>
                </c:pt>
                <c:pt idx="55">
                  <c:v>1.5</c:v>
                </c:pt>
                <c:pt idx="56">
                  <c:v>4</c:v>
                </c:pt>
                <c:pt idx="57">
                  <c:v>3.5</c:v>
                </c:pt>
                <c:pt idx="58">
                  <c:v>1.5</c:v>
                </c:pt>
                <c:pt idx="59">
                  <c:v>4</c:v>
                </c:pt>
                <c:pt idx="60">
                  <c:v>2</c:v>
                </c:pt>
                <c:pt idx="61">
                  <c:v>4</c:v>
                </c:pt>
                <c:pt idx="62">
                  <c:v>2</c:v>
                </c:pt>
                <c:pt idx="63">
                  <c:v>4</c:v>
                </c:pt>
                <c:pt idx="64">
                  <c:v>6</c:v>
                </c:pt>
                <c:pt idx="65">
                  <c:v>4.75</c:v>
                </c:pt>
                <c:pt idx="66">
                  <c:v>5.5</c:v>
                </c:pt>
                <c:pt idx="67">
                  <c:v>6.25</c:v>
                </c:pt>
                <c:pt idx="68">
                  <c:v>4</c:v>
                </c:pt>
                <c:pt idx="69">
                  <c:v>5.75</c:v>
                </c:pt>
                <c:pt idx="70">
                  <c:v>3.5</c:v>
                </c:pt>
                <c:pt idx="71">
                  <c:v>1.5</c:v>
                </c:pt>
                <c:pt idx="72">
                  <c:v>3</c:v>
                </c:pt>
                <c:pt idx="73">
                  <c:v>1.75</c:v>
                </c:pt>
                <c:pt idx="74">
                  <c:v>2</c:v>
                </c:pt>
                <c:pt idx="75">
                  <c:v>1</c:v>
                </c:pt>
                <c:pt idx="76">
                  <c:v>2</c:v>
                </c:pt>
                <c:pt idx="77">
                  <c:v>1</c:v>
                </c:pt>
                <c:pt idx="78">
                  <c:v>2</c:v>
                </c:pt>
                <c:pt idx="79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2589184"/>
        <c:axId val="82590720"/>
      </c:areaChart>
      <c:catAx>
        <c:axId val="82589184"/>
        <c:scaling>
          <c:orientation val="minMax"/>
        </c:scaling>
        <c:delete val="1"/>
        <c:axPos val="b"/>
        <c:majorTickMark val="out"/>
        <c:minorTickMark val="none"/>
        <c:tickLblPos val="none"/>
        <c:crossAx val="82590720"/>
        <c:crosses val="autoZero"/>
        <c:auto val="1"/>
        <c:lblAlgn val="ctr"/>
        <c:lblOffset val="100"/>
        <c:noMultiLvlLbl val="0"/>
      </c:catAx>
      <c:valAx>
        <c:axId val="82590720"/>
        <c:scaling>
          <c:orientation val="minMax"/>
          <c:max val="30"/>
        </c:scaling>
        <c:delete val="1"/>
        <c:axPos val="l"/>
        <c:majorGridlines/>
        <c:numFmt formatCode="General" sourceLinked="1"/>
        <c:majorTickMark val="out"/>
        <c:minorTickMark val="none"/>
        <c:tickLblPos val="none"/>
        <c:crossAx val="82589184"/>
        <c:crosses val="autoZero"/>
        <c:crossBetween val="midCat"/>
        <c:maj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b="1"/>
            </a:pPr>
            <a:r>
              <a:rPr lang="en-US" sz="1600" b="1" dirty="0" smtClean="0"/>
              <a:t>Weekly Collections</a:t>
            </a:r>
            <a:endParaRPr lang="en-US" sz="1600" b="1" dirty="0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lections</c:v>
                </c:pt>
              </c:strCache>
            </c:strRef>
          </c:tx>
          <c:spPr>
            <a:solidFill>
              <a:srgbClr val="007D7A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b="1" i="0" baseline="0" dirty="0">
                        <a:solidFill>
                          <a:schemeClr val="bg1"/>
                        </a:solidFill>
                      </a:rPr>
                      <a:t>18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 i="0" baseline="0" dirty="0">
                        <a:solidFill>
                          <a:schemeClr val="bg1"/>
                        </a:solidFill>
                      </a:rPr>
                      <a:t>10.5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lang="en-US" b="1" i="0" baseline="0" dirty="0">
                        <a:solidFill>
                          <a:schemeClr val="bg1"/>
                        </a:solidFill>
                      </a:rPr>
                      <a:t>2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4</c:f>
              <c:strCache>
                <c:ptCount val="3"/>
                <c:pt idx="0">
                  <c:v>Before</c:v>
                </c:pt>
                <c:pt idx="1">
                  <c:v>With Data</c:v>
                </c:pt>
                <c:pt idx="2">
                  <c:v>With Compactio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8</c:v>
                </c:pt>
                <c:pt idx="1">
                  <c:v>10.5</c:v>
                </c:pt>
                <c:pt idx="2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8007296"/>
        <c:axId val="138008832"/>
      </c:barChart>
      <c:catAx>
        <c:axId val="13800729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 b="1">
                <a:latin typeface="Arial Narrow" pitchFamily="34" charset="0"/>
              </a:defRPr>
            </a:pPr>
            <a:endParaRPr lang="en-US"/>
          </a:p>
        </c:txPr>
        <c:crossAx val="138008832"/>
        <c:crosses val="autoZero"/>
        <c:auto val="1"/>
        <c:lblAlgn val="ctr"/>
        <c:lblOffset val="100"/>
        <c:noMultiLvlLbl val="0"/>
      </c:catAx>
      <c:valAx>
        <c:axId val="13800883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>
                <a:latin typeface="Arial Narrow" pitchFamily="34" charset="0"/>
              </a:defRPr>
            </a:pPr>
            <a:endParaRPr lang="en-US"/>
          </a:p>
        </c:txPr>
        <c:crossAx val="1380072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CE51D-B015-4C63-8CDD-2F60B4B7212D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552E9-1B5C-4FFC-ACDE-D2DD28FAB5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4108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BE24FFFA-0325-4D9A-ADF7-DE77E5D08227}" type="slidenum">
              <a:rPr lang="de-DE" sz="1200">
                <a:solidFill>
                  <a:prstClr val="black"/>
                </a:solidFill>
              </a:rPr>
              <a:pPr eaLnBrk="1" hangingPunct="1"/>
              <a:t>10</a:t>
            </a:fld>
            <a:endParaRPr lang="de-DE" sz="1200">
              <a:solidFill>
                <a:prstClr val="black"/>
              </a:solidFill>
            </a:endParaRPr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1413" y="685800"/>
            <a:ext cx="4568825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0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1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2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3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4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5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6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4C075846-DB23-4558-8073-9187E528300E}" type="slidenum">
              <a:rPr lang="de-DE" sz="1200">
                <a:solidFill>
                  <a:prstClr val="black"/>
                </a:solidFill>
              </a:rPr>
              <a:pPr eaLnBrk="1" hangingPunct="1"/>
              <a:t>11</a:t>
            </a:fld>
            <a:endParaRPr lang="de-DE" sz="1200">
              <a:solidFill>
                <a:prstClr val="black"/>
              </a:solidFill>
            </a:endParaRPr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1413" y="685800"/>
            <a:ext cx="4568825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39940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649E4103-10BF-42F5-BBA1-34E76579D439}" type="slidenum">
              <a:rPr lang="en-US" sz="1200" smtClean="0">
                <a:solidFill>
                  <a:srgbClr val="000000"/>
                </a:solidFill>
                <a:latin typeface="Siemens Sans" pitchFamily="2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en-US" sz="1200" smtClean="0">
              <a:solidFill>
                <a:srgbClr val="000000"/>
              </a:solidFill>
              <a:latin typeface="Siemens Sans" pitchFamily="2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3927" indent="-28228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9118" indent="-22582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80765" indent="-22582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32412" indent="-22582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84059" indent="-2258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35707" indent="-2258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87354" indent="-2258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39001" indent="-2258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63AC015-3135-4963-8CAE-9178453A1723}" type="slidenum">
              <a:rPr lang="en-US" smtClean="0">
                <a:solidFill>
                  <a:prstClr val="black"/>
                </a:solidFill>
              </a:rPr>
              <a:pPr eaLnBrk="1" hangingPunct="1"/>
              <a:t>35</a:t>
            </a:fld>
            <a:endParaRPr lang="en-US" dirty="0" smtClean="0">
              <a:solidFill>
                <a:prstClr val="black"/>
              </a:solidFill>
            </a:endParaRPr>
          </a:p>
        </p:txBody>
      </p:sp>
      <p:sp>
        <p:nvSpPr>
          <p:cNvPr id="880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Times" charset="0"/>
              <a:ea typeface="ＭＳ Ｐゴシック" pitchFamily="34" charset="-128"/>
              <a:cs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Times" charset="0"/>
              <a:ea typeface="ＭＳ Ｐゴシック" pitchFamily="34" charset="-128"/>
              <a:cs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7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8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E2C55C-1CEF-485B-ABC9-A38F1D185A7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9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069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508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7506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359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831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1494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48100" cy="1855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981200"/>
            <a:ext cx="3848100" cy="1855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165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6931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086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25477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1152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14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7133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7041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2250" y="381000"/>
            <a:ext cx="1962150" cy="34559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381000"/>
            <a:ext cx="5734050" cy="34559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7228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9442" y="3307355"/>
            <a:ext cx="7117180" cy="1470025"/>
          </a:xfrm>
        </p:spPr>
        <p:txBody>
          <a:bodyPr anchor="b"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09442" y="4777380"/>
            <a:ext cx="7117180" cy="86142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4540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 marL="2514600" indent="-228600">
              <a:buClr>
                <a:schemeClr val="tx2"/>
              </a:buClr>
              <a:buSzPct val="101000"/>
              <a:buFont typeface="Courier New" pitchFamily="49" charset="0"/>
              <a:buChar char="o"/>
              <a:defRPr sz="1200"/>
            </a:lvl6pPr>
            <a:lvl7pPr marL="29718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7pPr>
            <a:lvl8pPr marL="34290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8pPr>
            <a:lvl9pPr marL="38862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544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9443" y="3308581"/>
            <a:ext cx="7117178" cy="1468800"/>
          </a:xfrm>
        </p:spPr>
        <p:txBody>
          <a:bodyPr anchor="b"/>
          <a:lstStyle>
            <a:lvl1pPr algn="r">
              <a:defRPr sz="3200" b="0" cap="none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9443" y="4777381"/>
            <a:ext cx="711717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9045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9443" y="675724"/>
            <a:ext cx="7123080" cy="924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09442" y="1809749"/>
            <a:ext cx="3471277" cy="4051301"/>
          </a:xfrm>
        </p:spPr>
        <p:txBody>
          <a:bodyPr>
            <a:normAutofit/>
          </a:bodyPr>
          <a:lstStyle>
            <a:lvl5pPr>
              <a:defRPr/>
            </a:lvl5pPr>
            <a:lvl6pPr marL="2514600" indent="-228600">
              <a:buClr>
                <a:schemeClr val="tx2"/>
              </a:buClr>
              <a:buSzPct val="101000"/>
              <a:buFont typeface="Courier New" pitchFamily="49" charset="0"/>
              <a:buChar char="o"/>
              <a:defRPr sz="1200"/>
            </a:lvl6pPr>
            <a:lvl7pPr marL="29718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7pPr>
            <a:lvl8pPr marL="34290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8pPr>
            <a:lvl9pPr marL="38862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281" y="1809749"/>
            <a:ext cx="3469242" cy="4051302"/>
          </a:xfrm>
        </p:spPr>
        <p:txBody>
          <a:bodyPr>
            <a:normAutofit/>
          </a:bodyPr>
          <a:lstStyle>
            <a:lvl5pPr>
              <a:defRPr/>
            </a:lvl5pPr>
            <a:lvl6pPr marL="2514600" indent="-228600">
              <a:buClr>
                <a:schemeClr val="tx2"/>
              </a:buClr>
              <a:buSzPct val="101000"/>
              <a:buFont typeface="Courier New" pitchFamily="49" charset="0"/>
              <a:buChar char="o"/>
              <a:defRPr sz="1200"/>
            </a:lvl6pPr>
            <a:lvl7pPr marL="29718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7pPr>
            <a:lvl8pPr marL="34290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8pPr>
            <a:lvl9pPr marL="38862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638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32894" y="1812927"/>
            <a:ext cx="314782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9442" y="2389189"/>
            <a:ext cx="3471277" cy="3471861"/>
          </a:xfrm>
        </p:spPr>
        <p:txBody>
          <a:bodyPr>
            <a:normAutofit/>
          </a:bodyPr>
          <a:lstStyle>
            <a:lvl5pPr>
              <a:defRPr/>
            </a:lvl5pPr>
            <a:lvl6pPr marL="2514600" indent="-228600">
              <a:buClr>
                <a:schemeClr val="tx2"/>
              </a:buClr>
              <a:buSzPct val="101000"/>
              <a:buFont typeface="Courier New" pitchFamily="49" charset="0"/>
              <a:buChar char="o"/>
              <a:defRPr sz="1200"/>
            </a:lvl6pPr>
            <a:lvl7pPr marL="29718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7pPr>
            <a:lvl8pPr marL="34290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8pPr>
            <a:lvl9pPr marL="38862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92066" y="1812927"/>
            <a:ext cx="314248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280" y="2389189"/>
            <a:ext cx="3471275" cy="3471861"/>
          </a:xfrm>
        </p:spPr>
        <p:txBody>
          <a:bodyPr>
            <a:normAutofit/>
          </a:bodyPr>
          <a:lstStyle>
            <a:lvl5pPr>
              <a:defRPr/>
            </a:lvl5pPr>
            <a:lvl6pPr marL="2514600" indent="-228600">
              <a:buClr>
                <a:schemeClr val="tx2"/>
              </a:buClr>
              <a:buSzPct val="101000"/>
              <a:buFont typeface="Courier New" pitchFamily="49" charset="0"/>
              <a:buChar char="o"/>
              <a:defRPr sz="1200"/>
            </a:lvl6pPr>
            <a:lvl7pPr marL="29718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7pPr>
            <a:lvl8pPr marL="34290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8pPr>
            <a:lvl9pPr marL="38862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0033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7780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601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424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9442" y="446087"/>
            <a:ext cx="2660650" cy="1185861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2654" y="446087"/>
            <a:ext cx="4279869" cy="5414963"/>
          </a:xfrm>
        </p:spPr>
        <p:txBody>
          <a:bodyPr>
            <a:normAutofit/>
          </a:bodyPr>
          <a:lstStyle>
            <a:lvl5pPr>
              <a:defRPr/>
            </a:lvl5pPr>
            <a:lvl6pPr marL="2514600" indent="-228600">
              <a:buClr>
                <a:schemeClr val="tx2"/>
              </a:buClr>
              <a:buSzPct val="101000"/>
              <a:buFont typeface="Courier New" pitchFamily="49" charset="0"/>
              <a:buChar char="o"/>
              <a:defRPr sz="1200"/>
            </a:lvl6pPr>
            <a:lvl7pPr marL="29718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7pPr>
            <a:lvl8pPr marL="34290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8pPr>
            <a:lvl9pPr marL="3886200" indent="-228600">
              <a:buClr>
                <a:schemeClr val="tx2"/>
              </a:buClr>
              <a:buFont typeface="Courier New" pitchFamily="49" charset="0"/>
              <a:buChar char="o"/>
              <a:defRPr sz="12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9442" y="1631949"/>
            <a:ext cx="2660650" cy="4229099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8295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9442" y="1387058"/>
            <a:ext cx="3481387" cy="1113254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09442" y="2500312"/>
            <a:ext cx="3481387" cy="2530200"/>
          </a:xfrm>
        </p:spPr>
        <p:txBody>
          <a:bodyPr anchor="t"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4718762" y="993075"/>
            <a:ext cx="1847138" cy="1530439"/>
            <a:chOff x="4718762" y="993075"/>
            <a:chExt cx="1847138" cy="1530439"/>
          </a:xfrm>
        </p:grpSpPr>
        <p:sp>
          <p:nvSpPr>
            <p:cNvPr id="32" name="Oval 31"/>
            <p:cNvSpPr/>
            <p:nvPr/>
          </p:nvSpPr>
          <p:spPr>
            <a:xfrm>
              <a:off x="5479247" y="1436861"/>
              <a:ext cx="1086653" cy="1086653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  <a:scene3d>
              <a:camera prst="orthographicFront">
                <a:rot lat="0" lon="0" rev="0"/>
              </a:camera>
              <a:lightRig rig="threePt" dir="tl"/>
            </a:scene3d>
            <a:sp3d extrusionH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5650541" y="1411791"/>
              <a:ext cx="830365" cy="830365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  <a:scene3d>
              <a:camera prst="orthographicFront">
                <a:rot lat="0" lon="0" rev="0"/>
              </a:camera>
              <a:lightRig rig="threePt" dir="tl"/>
            </a:scene3d>
            <a:sp3d extrusionH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5256184" y="1894454"/>
              <a:ext cx="602364" cy="602364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  <a:scene3d>
              <a:camera prst="orthographicFront">
                <a:rot lat="0" lon="0" rev="0"/>
              </a:camera>
              <a:lightRig rig="threePt" dir="tl"/>
            </a:scene3d>
            <a:sp3d extrusionH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5424145" y="1811313"/>
              <a:ext cx="489588" cy="489588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  <a:scene3d>
              <a:camera prst="orthographicFront">
                <a:rot lat="0" lon="0" rev="0"/>
              </a:camera>
              <a:lightRig rig="threePt" dir="tl"/>
            </a:scene3d>
            <a:sp3d extrusionH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4718762" y="2083426"/>
              <a:ext cx="256601" cy="256601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  <a:scene3d>
              <a:camera prst="orthographicFront">
                <a:rot lat="0" lon="0" rev="0"/>
              </a:camera>
              <a:lightRig rig="threePt" dir="tl"/>
            </a:scene3d>
            <a:sp3d extrusionH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6132091" y="993075"/>
              <a:ext cx="256601" cy="256601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  <a:scene3d>
              <a:camera prst="orthographicFront">
                <a:rot lat="0" lon="0" rev="0"/>
              </a:camera>
              <a:lightRig rig="threePt" dir="tl"/>
            </a:scene3d>
            <a:sp3d extrusionH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4" name="Oval 33"/>
            <p:cNvSpPr/>
            <p:nvPr/>
          </p:nvSpPr>
          <p:spPr>
            <a:xfrm>
              <a:off x="5059596" y="1894454"/>
              <a:ext cx="197439" cy="19743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  <a:scene3d>
              <a:camera prst="orthographicFront">
                <a:rot lat="0" lon="0" rev="0"/>
              </a:camera>
              <a:lightRig rig="threePt" dir="tl"/>
            </a:scene3d>
            <a:sp3d extrusionH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6148801" y="1060593"/>
              <a:ext cx="197439" cy="197439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  <a:effectLst/>
            <a:scene3d>
              <a:camera prst="orthographicFront">
                <a:rot lat="0" lon="0" rev="0"/>
              </a:camera>
              <a:lightRig rig="threePt" dir="tl"/>
            </a:scene3d>
            <a:sp3d extrusionH="2540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876800" y="1600200"/>
            <a:ext cx="3429000" cy="3429000"/>
          </a:xfrm>
          <a:prstGeom prst="ellipse">
            <a:avLst/>
          </a:prstGeom>
          <a:ln w="76200">
            <a:solidFill>
              <a:schemeClr val="bg2">
                <a:lumMod val="75000"/>
              </a:schemeClr>
            </a:solidFill>
          </a:ln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9826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09443" y="1807361"/>
            <a:ext cx="7123080" cy="40514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4713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9561" y="675723"/>
            <a:ext cx="1472962" cy="518532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09442" y="675723"/>
            <a:ext cx="5467557" cy="518532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6DD85-1034-FE4F-AC40-116D3754FD95}" type="datetimeFigureOut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2/1/2013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427745-235C-9547-83F0-AC0721684FD0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8102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63200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342900"/>
            <a:ext cx="6553200" cy="4572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219200" y="1524000"/>
            <a:ext cx="7772400" cy="2209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19200" y="3886200"/>
            <a:ext cx="7772400" cy="2209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prstClr val="black"/>
              </a:solidFill>
              <a:latin typeface="Blade Runner Movie Font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prstClr val="black"/>
              </a:solidFill>
              <a:latin typeface="Blade Runner Movie Font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29920" y="6232565"/>
            <a:ext cx="1905000" cy="473035"/>
          </a:xfrm>
          <a:prstGeom prst="rect">
            <a:avLst/>
          </a:prstGeom>
          <a:ln/>
        </p:spPr>
        <p:txBody>
          <a:bodyPr anchor="b"/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D376304-BF63-4805-8975-6F4F47CF3F65}" type="slidenum">
              <a:rPr lang="en-US" smtClean="0">
                <a:solidFill>
                  <a:prstClr val="black"/>
                </a:solidFill>
                <a:latin typeface="Blade Runner Movie Font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/>
              </a:solidFill>
              <a:latin typeface="Blade Runner Movie Font"/>
            </a:endParaRPr>
          </a:p>
        </p:txBody>
      </p:sp>
    </p:spTree>
    <p:extLst>
      <p:ext uri="{BB962C8B-B14F-4D97-AF65-F5344CB8AC3E}">
        <p14:creationId xmlns:p14="http://schemas.microsoft.com/office/powerpoint/2010/main" val="27612915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2794387-1D0E-4693-91DE-F49AFFD48ECC}" type="datetimeFigureOut">
              <a:rPr lang="en-US" sz="2400" smtClean="0">
                <a:solidFill>
                  <a:prstClr val="black"/>
                </a:solidFill>
                <a:latin typeface="Blade Runner Movie Fon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/1/2013</a:t>
            </a:fld>
            <a:endParaRPr lang="en-US" sz="2400">
              <a:solidFill>
                <a:prstClr val="black"/>
              </a:solidFill>
              <a:latin typeface="Blade Runner Movie Font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black"/>
              </a:solidFill>
              <a:latin typeface="Blade Runner Movie Font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2FFE61D-9CEF-4726-BE11-E2EED977F669}" type="slidenum">
              <a:rPr lang="en-US" sz="2400" smtClean="0">
                <a:solidFill>
                  <a:prstClr val="black"/>
                </a:solidFill>
                <a:latin typeface="Blade Runner Movie Font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400">
              <a:solidFill>
                <a:prstClr val="black"/>
              </a:solidFill>
              <a:latin typeface="Blade Runner Movie Font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096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42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34437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5598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8947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8583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4253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79365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16713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56887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8471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9287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620713"/>
            <a:ext cx="8208963" cy="8096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39750" y="1879600"/>
            <a:ext cx="8208963" cy="4394200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2077892172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620713"/>
            <a:ext cx="8208963" cy="8096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39750" y="1879600"/>
            <a:ext cx="8208963" cy="4394200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41513833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6583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0610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D73BAC88-3969-41B6-9601-60EF8AC9C5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9048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D92B0110-D1D6-4496-A93C-89F1D64F1D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8951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145A65CD-B111-4CA1-A602-F547A0BAC0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837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590675"/>
            <a:ext cx="4027488" cy="46815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9638" y="1590675"/>
            <a:ext cx="4029075" cy="46815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07F8060D-6F3D-4512-AB9F-406D5FBC0E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4434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F57F0942-1DEE-4FF0-AF20-526097DCD7A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3673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CBF0C476-28DF-4DD9-A7B8-324E190CF2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829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72BE38EA-1EA3-4AEE-86A4-0F7D119FE1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7619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582F4927-A447-4BB6-B3CD-E784508546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8332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FA046B0A-C5F7-48F7-B3CF-D5B13613B1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412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0679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956B84A0-9FDE-4BCB-BF39-696255C34F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8913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7663" y="258763"/>
            <a:ext cx="2051050" cy="6013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258763"/>
            <a:ext cx="6005513" cy="6013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6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1891EF64-087D-42E5-9970-44527F053D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3514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5123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123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16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5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6623F9-1441-40FB-934B-8CB7B3B124C4}" type="datetimeFigureOut">
              <a:rPr lang="en-US" smtClean="0"/>
              <a:t>2/1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1EC4E9-21F7-4C81-B3AF-D1F2F86821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614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381000"/>
            <a:ext cx="5562600" cy="4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848600" cy="148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17"/>
          <p:cNvSpPr>
            <a:spLocks noChangeArrowheads="1"/>
          </p:cNvSpPr>
          <p:nvPr/>
        </p:nvSpPr>
        <p:spPr bwMode="auto">
          <a:xfrm>
            <a:off x="0" y="6477000"/>
            <a:ext cx="9144000" cy="381000"/>
          </a:xfrm>
          <a:prstGeom prst="rect">
            <a:avLst/>
          </a:prstGeom>
          <a:solidFill>
            <a:srgbClr val="00666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" charset="0"/>
              <a:ea typeface="ＭＳ Ｐゴシック" pitchFamily="34" charset="-128"/>
            </a:endParaRPr>
          </a:p>
        </p:txBody>
      </p:sp>
      <p:sp>
        <p:nvSpPr>
          <p:cNvPr id="1029" name="Rectangle 18"/>
          <p:cNvSpPr>
            <a:spLocks noChangeArrowheads="1"/>
          </p:cNvSpPr>
          <p:nvPr/>
        </p:nvSpPr>
        <p:spPr bwMode="auto">
          <a:xfrm>
            <a:off x="838200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900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30" name="Rectangle 19"/>
          <p:cNvSpPr>
            <a:spLocks noChangeArrowheads="1"/>
          </p:cNvSpPr>
          <p:nvPr/>
        </p:nvSpPr>
        <p:spPr bwMode="auto">
          <a:xfrm>
            <a:off x="3276600" y="6543675"/>
            <a:ext cx="2895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FFFFFF"/>
                </a:solidFill>
                <a:ea typeface="ＭＳ Ｐゴシック" pitchFamily="34" charset="-128"/>
              </a:rPr>
              <a:t>Copyright © </a:t>
            </a:r>
            <a:r>
              <a:rPr lang="en-US" sz="1000" b="1" dirty="0" smtClean="0">
                <a:solidFill>
                  <a:srgbClr val="FFFFFF"/>
                </a:solidFill>
                <a:ea typeface="ＭＳ Ｐゴシック" pitchFamily="34" charset="-128"/>
              </a:rPr>
              <a:t>2011 </a:t>
            </a:r>
            <a:r>
              <a:rPr lang="en-US" sz="1000" b="1" dirty="0">
                <a:solidFill>
                  <a:srgbClr val="FFFFFF"/>
                </a:solidFill>
                <a:ea typeface="ＭＳ Ｐゴシック" pitchFamily="34" charset="-128"/>
              </a:rPr>
              <a:t>BigBelly Solar</a:t>
            </a:r>
          </a:p>
        </p:txBody>
      </p:sp>
      <p:sp>
        <p:nvSpPr>
          <p:cNvPr id="1031" name="Rectangle 20"/>
          <p:cNvSpPr>
            <a:spLocks noChangeArrowheads="1"/>
          </p:cNvSpPr>
          <p:nvPr/>
        </p:nvSpPr>
        <p:spPr bwMode="auto">
          <a:xfrm>
            <a:off x="8153400" y="6543675"/>
            <a:ext cx="5334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011C4D12-9B2A-46C2-96DB-E7FE6EAF455A}" type="slidenum">
              <a:rPr lang="en-US" sz="1200" b="1">
                <a:solidFill>
                  <a:srgbClr val="FFFFFF"/>
                </a:solidFill>
                <a:ea typeface="ＭＳ Ｐゴシック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b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32" name="Rectangle 25"/>
          <p:cNvSpPr>
            <a:spLocks noChangeArrowheads="1"/>
          </p:cNvSpPr>
          <p:nvPr/>
        </p:nvSpPr>
        <p:spPr bwMode="auto">
          <a:xfrm>
            <a:off x="3667125" y="-492125"/>
            <a:ext cx="184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Times" charset="0"/>
              <a:ea typeface="ＭＳ Ｐゴシック" pitchFamily="34" charset="-128"/>
            </a:endParaRPr>
          </a:p>
        </p:txBody>
      </p:sp>
      <p:grpSp>
        <p:nvGrpSpPr>
          <p:cNvPr id="1033" name="Group 18"/>
          <p:cNvGrpSpPr>
            <a:grpSpLocks/>
          </p:cNvGrpSpPr>
          <p:nvPr/>
        </p:nvGrpSpPr>
        <p:grpSpPr bwMode="auto">
          <a:xfrm>
            <a:off x="0" y="0"/>
            <a:ext cx="2209800" cy="1524000"/>
            <a:chOff x="0" y="0"/>
            <a:chExt cx="1392" cy="960"/>
          </a:xfrm>
        </p:grpSpPr>
        <p:pic>
          <p:nvPicPr>
            <p:cNvPr id="1035" name="Picture 26" descr="BB_PP_LtGrnLogo"/>
            <p:cNvPicPr>
              <a:picLocks noChangeAspect="1" noChangeArrowheads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392" cy="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6" name="Picture 26" descr="BB_PP_LtGrnLogo"/>
            <p:cNvPicPr>
              <a:picLocks noChangeAspect="1" noChangeArrowheads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" y="503"/>
              <a:ext cx="718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7" name="Picture 26" descr="BB_PP_LtGrnLogo"/>
            <p:cNvPicPr>
              <a:picLocks noChangeAspect="1" noChangeArrowheads="1"/>
            </p:cNvPicPr>
            <p:nvPr userDrawn="1"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" y="192"/>
              <a:ext cx="80" cy="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34" name="Rectangle 19"/>
          <p:cNvSpPr>
            <a:spLocks noChangeArrowheads="1"/>
          </p:cNvSpPr>
          <p:nvPr/>
        </p:nvSpPr>
        <p:spPr bwMode="auto">
          <a:xfrm>
            <a:off x="228600" y="6553200"/>
            <a:ext cx="1981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ea typeface="ＭＳ Ｐゴシック" pitchFamily="34" charset="-128"/>
              </a:rPr>
              <a:t>bigbellysolar.com</a:t>
            </a:r>
          </a:p>
        </p:txBody>
      </p:sp>
    </p:spTree>
    <p:extLst>
      <p:ext uri="{BB962C8B-B14F-4D97-AF65-F5344CB8AC3E}">
        <p14:creationId xmlns:p14="http://schemas.microsoft.com/office/powerpoint/2010/main" val="2654996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8000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8000"/>
          </a:solidFill>
          <a:latin typeface="Helvetica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8000"/>
          </a:solidFill>
          <a:latin typeface="Helvetica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8000"/>
          </a:solidFill>
          <a:latin typeface="Helvetica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8000"/>
          </a:solidFill>
          <a:latin typeface="Helvetica" charset="0"/>
          <a:ea typeface="ＭＳ Ｐゴシック" charset="0"/>
          <a:cs typeface="ＭＳ Ｐゴシック" charset="0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8000"/>
          </a:solidFill>
          <a:latin typeface="Helvetica" charset="0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8000"/>
          </a:solidFill>
          <a:latin typeface="Helvetica" charset="0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8000"/>
          </a:solidFill>
          <a:latin typeface="Helvetica" charset="0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8000"/>
          </a:solidFill>
          <a:latin typeface="Helvetica" charset="0"/>
        </a:defRPr>
      </a:lvl9pPr>
    </p:titleStyle>
    <p:bodyStyle>
      <a:lvl1pPr marL="292100" indent="-2921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130000"/>
        <a:buFont typeface="Helvetica" charset="0"/>
        <a:buChar char="•"/>
        <a:defRPr sz="2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863600" indent="-3429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110000"/>
        <a:buFont typeface="Arial Black" pitchFamily="34" charset="0"/>
        <a:buChar char="−"/>
        <a:defRPr sz="2000">
          <a:solidFill>
            <a:schemeClr val="tx1"/>
          </a:solidFill>
          <a:latin typeface="+mn-lt"/>
          <a:ea typeface="ＭＳ Ｐゴシック" charset="-128"/>
        </a:defRPr>
      </a:lvl2pPr>
      <a:lvl3pPr marL="125095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SzPct val="125000"/>
        <a:buFont typeface="Wingdings" pitchFamily="2" charset="2"/>
        <a:buChar char="§"/>
        <a:defRPr>
          <a:solidFill>
            <a:schemeClr val="tx1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SzPct val="80000"/>
        <a:buFont typeface="Arial Black" pitchFamily="34" charset="0"/>
        <a:buChar char="►"/>
        <a:defRPr sz="1600">
          <a:solidFill>
            <a:schemeClr val="tx1"/>
          </a:solidFill>
          <a:latin typeface="+mn-lt"/>
          <a:ea typeface="ＭＳ Ｐゴシック" charset="-128"/>
        </a:defRPr>
      </a:lvl4pPr>
      <a:lvl5pPr marL="1943100" indent="-228600" algn="l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SzPct val="80000"/>
        <a:buFont typeface="Wingdings" pitchFamily="2" charset="2"/>
        <a:buChar char="°"/>
        <a:defRPr sz="1400">
          <a:solidFill>
            <a:schemeClr val="tx1"/>
          </a:solidFill>
          <a:latin typeface="+mn-lt"/>
          <a:ea typeface="ＭＳ Ｐゴシック" charset="-128"/>
        </a:defRPr>
      </a:lvl5pPr>
      <a:lvl6pPr marL="2400300" indent="-228600" algn="l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SzPct val="80000"/>
        <a:buFont typeface="Wingdings" charset="2"/>
        <a:buChar char="°"/>
        <a:defRPr sz="1400">
          <a:solidFill>
            <a:schemeClr val="tx1"/>
          </a:solidFill>
          <a:latin typeface="+mn-lt"/>
          <a:ea typeface="ＭＳ Ｐゴシック" charset="-128"/>
        </a:defRPr>
      </a:lvl6pPr>
      <a:lvl7pPr marL="2857500" indent="-228600" algn="l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SzPct val="80000"/>
        <a:buFont typeface="Wingdings" charset="2"/>
        <a:buChar char="°"/>
        <a:defRPr sz="1400">
          <a:solidFill>
            <a:schemeClr val="tx1"/>
          </a:solidFill>
          <a:latin typeface="+mn-lt"/>
          <a:ea typeface="ＭＳ Ｐゴシック" charset="-128"/>
        </a:defRPr>
      </a:lvl7pPr>
      <a:lvl8pPr marL="3314700" indent="-228600" algn="l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SzPct val="80000"/>
        <a:buFont typeface="Wingdings" charset="2"/>
        <a:buChar char="°"/>
        <a:defRPr sz="1400">
          <a:solidFill>
            <a:schemeClr val="tx1"/>
          </a:solidFill>
          <a:latin typeface="+mn-lt"/>
          <a:ea typeface="ＭＳ Ｐゴシック" charset="-128"/>
        </a:defRPr>
      </a:lvl8pPr>
      <a:lvl9pPr marL="3771900" indent="-228600" algn="l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SzPct val="80000"/>
        <a:buFont typeface="Wingdings" charset="2"/>
        <a:buChar char="°"/>
        <a:defRPr sz="14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1000">
              <a:srgbClr val="94C0CA"/>
            </a:gs>
            <a:gs pos="89000">
              <a:schemeClr val="bg2">
                <a:tint val="90000"/>
                <a:shade val="68000"/>
                <a:hueMod val="100000"/>
                <a:satMod val="114000"/>
                <a:lumMod val="74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" name="Group 134"/>
          <p:cNvGrpSpPr/>
          <p:nvPr/>
        </p:nvGrpSpPr>
        <p:grpSpPr>
          <a:xfrm>
            <a:off x="-9" y="-16"/>
            <a:ext cx="9252346" cy="6858038"/>
            <a:chOff x="-9" y="-16"/>
            <a:chExt cx="9252346" cy="6858038"/>
          </a:xfrm>
        </p:grpSpPr>
        <p:grpSp>
          <p:nvGrpSpPr>
            <p:cNvPr id="136" name="Group 638"/>
            <p:cNvGrpSpPr/>
            <p:nvPr/>
          </p:nvGrpSpPr>
          <p:grpSpPr>
            <a:xfrm>
              <a:off x="8528" y="419213"/>
              <a:ext cx="9073251" cy="5913938"/>
              <a:chOff x="8528" y="419213"/>
              <a:chExt cx="9073251" cy="5913938"/>
            </a:xfrm>
          </p:grpSpPr>
          <p:grpSp>
            <p:nvGrpSpPr>
              <p:cNvPr id="224" name="Group 121"/>
              <p:cNvGrpSpPr>
                <a:grpSpLocks noChangeAspect="1"/>
              </p:cNvGrpSpPr>
              <p:nvPr/>
            </p:nvGrpSpPr>
            <p:grpSpPr>
              <a:xfrm rot="2429339">
                <a:off x="8528" y="447135"/>
                <a:ext cx="1128260" cy="875915"/>
                <a:chOff x="-162267" y="4120976"/>
                <a:chExt cx="3435350" cy="2667000"/>
              </a:xfrm>
              <a:solidFill>
                <a:schemeClr val="bg2">
                  <a:lumMod val="60000"/>
                  <a:lumOff val="40000"/>
                  <a:alpha val="1000"/>
                </a:schemeClr>
              </a:solidFill>
            </p:grpSpPr>
            <p:sp>
              <p:nvSpPr>
                <p:cNvPr id="250" name="Freeform 72"/>
                <p:cNvSpPr>
                  <a:spLocks/>
                </p:cNvSpPr>
                <p:nvPr/>
              </p:nvSpPr>
              <p:spPr bwMode="auto">
                <a:xfrm>
                  <a:off x="1644650" y="4162425"/>
                  <a:ext cx="441325" cy="657225"/>
                </a:xfrm>
                <a:custGeom>
                  <a:avLst/>
                  <a:gdLst/>
                  <a:ahLst/>
                  <a:cxnLst>
                    <a:cxn ang="0">
                      <a:pos x="276" y="414"/>
                    </a:cxn>
                    <a:cxn ang="0">
                      <a:pos x="276" y="414"/>
                    </a:cxn>
                    <a:cxn ang="0">
                      <a:pos x="278" y="414"/>
                    </a:cxn>
                    <a:cxn ang="0">
                      <a:pos x="278" y="412"/>
                    </a:cxn>
                    <a:cxn ang="0">
                      <a:pos x="278" y="412"/>
                    </a:cxn>
                    <a:cxn ang="0">
                      <a:pos x="270" y="396"/>
                    </a:cxn>
                    <a:cxn ang="0">
                      <a:pos x="54" y="60"/>
                    </a:cxn>
                    <a:cxn ang="0">
                      <a:pos x="54" y="60"/>
                    </a:cxn>
                    <a:cxn ang="0">
                      <a:pos x="38" y="32"/>
                    </a:cxn>
                    <a:cxn ang="0">
                      <a:pos x="36" y="28"/>
                    </a:cxn>
                    <a:cxn ang="0">
                      <a:pos x="36" y="28"/>
                    </a:cxn>
                    <a:cxn ang="0">
                      <a:pos x="26" y="14"/>
                    </a:cxn>
                    <a:cxn ang="0">
                      <a:pos x="14" y="4"/>
                    </a:cxn>
                    <a:cxn ang="0">
                      <a:pos x="10" y="2"/>
                    </a:cxn>
                    <a:cxn ang="0">
                      <a:pos x="10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6"/>
                    </a:cxn>
                    <a:cxn ang="0">
                      <a:pos x="0" y="6"/>
                    </a:cxn>
                    <a:cxn ang="0">
                      <a:pos x="4" y="18"/>
                    </a:cxn>
                    <a:cxn ang="0">
                      <a:pos x="12" y="28"/>
                    </a:cxn>
                    <a:cxn ang="0">
                      <a:pos x="12" y="28"/>
                    </a:cxn>
                    <a:cxn ang="0">
                      <a:pos x="22" y="36"/>
                    </a:cxn>
                    <a:cxn ang="0">
                      <a:pos x="30" y="48"/>
                    </a:cxn>
                    <a:cxn ang="0">
                      <a:pos x="264" y="402"/>
                    </a:cxn>
                    <a:cxn ang="0">
                      <a:pos x="264" y="402"/>
                    </a:cxn>
                    <a:cxn ang="0">
                      <a:pos x="270" y="410"/>
                    </a:cxn>
                    <a:cxn ang="0">
                      <a:pos x="276" y="414"/>
                    </a:cxn>
                    <a:cxn ang="0">
                      <a:pos x="276" y="414"/>
                    </a:cxn>
                  </a:cxnLst>
                  <a:rect l="0" t="0" r="r" b="b"/>
                  <a:pathLst>
                    <a:path w="278" h="414">
                      <a:moveTo>
                        <a:pt x="276" y="414"/>
                      </a:moveTo>
                      <a:lnTo>
                        <a:pt x="276" y="414"/>
                      </a:lnTo>
                      <a:lnTo>
                        <a:pt x="278" y="414"/>
                      </a:lnTo>
                      <a:lnTo>
                        <a:pt x="278" y="412"/>
                      </a:lnTo>
                      <a:lnTo>
                        <a:pt x="278" y="412"/>
                      </a:lnTo>
                      <a:lnTo>
                        <a:pt x="270" y="396"/>
                      </a:lnTo>
                      <a:lnTo>
                        <a:pt x="54" y="60"/>
                      </a:lnTo>
                      <a:lnTo>
                        <a:pt x="54" y="60"/>
                      </a:lnTo>
                      <a:lnTo>
                        <a:pt x="38" y="32"/>
                      </a:lnTo>
                      <a:lnTo>
                        <a:pt x="36" y="28"/>
                      </a:lnTo>
                      <a:lnTo>
                        <a:pt x="36" y="28"/>
                      </a:lnTo>
                      <a:lnTo>
                        <a:pt x="26" y="1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1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22" y="36"/>
                      </a:lnTo>
                      <a:lnTo>
                        <a:pt x="30" y="48"/>
                      </a:lnTo>
                      <a:lnTo>
                        <a:pt x="264" y="402"/>
                      </a:lnTo>
                      <a:lnTo>
                        <a:pt x="264" y="402"/>
                      </a:lnTo>
                      <a:lnTo>
                        <a:pt x="270" y="410"/>
                      </a:lnTo>
                      <a:lnTo>
                        <a:pt x="276" y="414"/>
                      </a:lnTo>
                      <a:lnTo>
                        <a:pt x="276" y="4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1" name="Freeform 73"/>
                <p:cNvSpPr>
                  <a:spLocks/>
                </p:cNvSpPr>
                <p:nvPr/>
              </p:nvSpPr>
              <p:spPr bwMode="auto">
                <a:xfrm>
                  <a:off x="2089150" y="4835525"/>
                  <a:ext cx="1588" cy="31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2" name="Freeform 74"/>
                <p:cNvSpPr>
                  <a:spLocks/>
                </p:cNvSpPr>
                <p:nvPr/>
              </p:nvSpPr>
              <p:spPr bwMode="auto">
                <a:xfrm>
                  <a:off x="2117725" y="4162425"/>
                  <a:ext cx="444500" cy="657225"/>
                </a:xfrm>
                <a:custGeom>
                  <a:avLst/>
                  <a:gdLst/>
                  <a:ahLst/>
                  <a:cxnLst>
                    <a:cxn ang="0">
                      <a:pos x="4" y="414"/>
                    </a:cxn>
                    <a:cxn ang="0">
                      <a:pos x="4" y="414"/>
                    </a:cxn>
                    <a:cxn ang="0">
                      <a:pos x="8" y="410"/>
                    </a:cxn>
                    <a:cxn ang="0">
                      <a:pos x="16" y="402"/>
                    </a:cxn>
                    <a:cxn ang="0">
                      <a:pos x="248" y="48"/>
                    </a:cxn>
                    <a:cxn ang="0">
                      <a:pos x="248" y="48"/>
                    </a:cxn>
                    <a:cxn ang="0">
                      <a:pos x="258" y="36"/>
                    </a:cxn>
                    <a:cxn ang="0">
                      <a:pos x="266" y="28"/>
                    </a:cxn>
                    <a:cxn ang="0">
                      <a:pos x="266" y="28"/>
                    </a:cxn>
                    <a:cxn ang="0">
                      <a:pos x="274" y="18"/>
                    </a:cxn>
                    <a:cxn ang="0">
                      <a:pos x="280" y="6"/>
                    </a:cxn>
                    <a:cxn ang="0">
                      <a:pos x="280" y="6"/>
                    </a:cxn>
                    <a:cxn ang="0">
                      <a:pos x="280" y="2"/>
                    </a:cxn>
                    <a:cxn ang="0">
                      <a:pos x="278" y="0"/>
                    </a:cxn>
                    <a:cxn ang="0">
                      <a:pos x="274" y="0"/>
                    </a:cxn>
                    <a:cxn ang="0">
                      <a:pos x="268" y="2"/>
                    </a:cxn>
                    <a:cxn ang="0">
                      <a:pos x="266" y="4"/>
                    </a:cxn>
                    <a:cxn ang="0">
                      <a:pos x="266" y="4"/>
                    </a:cxn>
                    <a:cxn ang="0">
                      <a:pos x="254" y="14"/>
                    </a:cxn>
                    <a:cxn ang="0">
                      <a:pos x="244" y="28"/>
                    </a:cxn>
                    <a:cxn ang="0">
                      <a:pos x="240" y="32"/>
                    </a:cxn>
                    <a:cxn ang="0">
                      <a:pos x="240" y="32"/>
                    </a:cxn>
                    <a:cxn ang="0">
                      <a:pos x="224" y="60"/>
                    </a:cxn>
                    <a:cxn ang="0">
                      <a:pos x="10" y="396"/>
                    </a:cxn>
                    <a:cxn ang="0">
                      <a:pos x="10" y="396"/>
                    </a:cxn>
                    <a:cxn ang="0">
                      <a:pos x="0" y="412"/>
                    </a:cxn>
                    <a:cxn ang="0">
                      <a:pos x="0" y="412"/>
                    </a:cxn>
                    <a:cxn ang="0">
                      <a:pos x="0" y="414"/>
                    </a:cxn>
                    <a:cxn ang="0">
                      <a:pos x="0" y="414"/>
                    </a:cxn>
                    <a:cxn ang="0">
                      <a:pos x="4" y="414"/>
                    </a:cxn>
                    <a:cxn ang="0">
                      <a:pos x="4" y="414"/>
                    </a:cxn>
                  </a:cxnLst>
                  <a:rect l="0" t="0" r="r" b="b"/>
                  <a:pathLst>
                    <a:path w="280" h="414">
                      <a:moveTo>
                        <a:pt x="4" y="414"/>
                      </a:moveTo>
                      <a:lnTo>
                        <a:pt x="4" y="414"/>
                      </a:lnTo>
                      <a:lnTo>
                        <a:pt x="8" y="410"/>
                      </a:lnTo>
                      <a:lnTo>
                        <a:pt x="16" y="402"/>
                      </a:lnTo>
                      <a:lnTo>
                        <a:pt x="248" y="48"/>
                      </a:lnTo>
                      <a:lnTo>
                        <a:pt x="248" y="48"/>
                      </a:lnTo>
                      <a:lnTo>
                        <a:pt x="258" y="36"/>
                      </a:lnTo>
                      <a:lnTo>
                        <a:pt x="266" y="28"/>
                      </a:lnTo>
                      <a:lnTo>
                        <a:pt x="266" y="28"/>
                      </a:lnTo>
                      <a:lnTo>
                        <a:pt x="274" y="18"/>
                      </a:lnTo>
                      <a:lnTo>
                        <a:pt x="280" y="6"/>
                      </a:lnTo>
                      <a:lnTo>
                        <a:pt x="280" y="6"/>
                      </a:lnTo>
                      <a:lnTo>
                        <a:pt x="280" y="2"/>
                      </a:lnTo>
                      <a:lnTo>
                        <a:pt x="278" y="0"/>
                      </a:lnTo>
                      <a:lnTo>
                        <a:pt x="274" y="0"/>
                      </a:lnTo>
                      <a:lnTo>
                        <a:pt x="268" y="2"/>
                      </a:lnTo>
                      <a:lnTo>
                        <a:pt x="266" y="4"/>
                      </a:lnTo>
                      <a:lnTo>
                        <a:pt x="266" y="4"/>
                      </a:lnTo>
                      <a:lnTo>
                        <a:pt x="254" y="14"/>
                      </a:lnTo>
                      <a:lnTo>
                        <a:pt x="244" y="28"/>
                      </a:lnTo>
                      <a:lnTo>
                        <a:pt x="240" y="32"/>
                      </a:lnTo>
                      <a:lnTo>
                        <a:pt x="240" y="32"/>
                      </a:lnTo>
                      <a:lnTo>
                        <a:pt x="224" y="60"/>
                      </a:lnTo>
                      <a:lnTo>
                        <a:pt x="10" y="396"/>
                      </a:lnTo>
                      <a:lnTo>
                        <a:pt x="10" y="396"/>
                      </a:lnTo>
                      <a:lnTo>
                        <a:pt x="0" y="412"/>
                      </a:lnTo>
                      <a:lnTo>
                        <a:pt x="0" y="412"/>
                      </a:lnTo>
                      <a:lnTo>
                        <a:pt x="0" y="414"/>
                      </a:lnTo>
                      <a:lnTo>
                        <a:pt x="0" y="414"/>
                      </a:lnTo>
                      <a:lnTo>
                        <a:pt x="4" y="414"/>
                      </a:lnTo>
                      <a:lnTo>
                        <a:pt x="4" y="4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3" name="Freeform 75"/>
                <p:cNvSpPr>
                  <a:spLocks noEditPoints="1"/>
                </p:cNvSpPr>
                <p:nvPr/>
              </p:nvSpPr>
              <p:spPr bwMode="auto">
                <a:xfrm>
                  <a:off x="-162267" y="4120976"/>
                  <a:ext cx="3435350" cy="2667000"/>
                </a:xfrm>
                <a:custGeom>
                  <a:avLst/>
                  <a:gdLst/>
                  <a:ahLst/>
                  <a:cxnLst>
                    <a:cxn ang="0">
                      <a:pos x="2160" y="44"/>
                    </a:cxn>
                    <a:cxn ang="0">
                      <a:pos x="2102" y="6"/>
                    </a:cxn>
                    <a:cxn ang="0">
                      <a:pos x="1752" y="118"/>
                    </a:cxn>
                    <a:cxn ang="0">
                      <a:pos x="1142" y="870"/>
                    </a:cxn>
                    <a:cxn ang="0">
                      <a:pos x="1126" y="832"/>
                    </a:cxn>
                    <a:cxn ang="0">
                      <a:pos x="1126" y="794"/>
                    </a:cxn>
                    <a:cxn ang="0">
                      <a:pos x="1100" y="780"/>
                    </a:cxn>
                    <a:cxn ang="0">
                      <a:pos x="1080" y="778"/>
                    </a:cxn>
                    <a:cxn ang="0">
                      <a:pos x="1068" y="788"/>
                    </a:cxn>
                    <a:cxn ang="0">
                      <a:pos x="1034" y="802"/>
                    </a:cxn>
                    <a:cxn ang="0">
                      <a:pos x="1024" y="846"/>
                    </a:cxn>
                    <a:cxn ang="0">
                      <a:pos x="690" y="370"/>
                    </a:cxn>
                    <a:cxn ang="0">
                      <a:pos x="118" y="0"/>
                    </a:cxn>
                    <a:cxn ang="0">
                      <a:pos x="32" y="18"/>
                    </a:cxn>
                    <a:cxn ang="0">
                      <a:pos x="2" y="64"/>
                    </a:cxn>
                    <a:cxn ang="0">
                      <a:pos x="108" y="686"/>
                    </a:cxn>
                    <a:cxn ang="0">
                      <a:pos x="348" y="952"/>
                    </a:cxn>
                    <a:cxn ang="0">
                      <a:pos x="504" y="1020"/>
                    </a:cxn>
                    <a:cxn ang="0">
                      <a:pos x="346" y="1198"/>
                    </a:cxn>
                    <a:cxn ang="0">
                      <a:pos x="330" y="1284"/>
                    </a:cxn>
                    <a:cxn ang="0">
                      <a:pos x="372" y="1442"/>
                    </a:cxn>
                    <a:cxn ang="0">
                      <a:pos x="406" y="1476"/>
                    </a:cxn>
                    <a:cxn ang="0">
                      <a:pos x="436" y="1500"/>
                    </a:cxn>
                    <a:cxn ang="0">
                      <a:pos x="478" y="1550"/>
                    </a:cxn>
                    <a:cxn ang="0">
                      <a:pos x="516" y="1562"/>
                    </a:cxn>
                    <a:cxn ang="0">
                      <a:pos x="558" y="1608"/>
                    </a:cxn>
                    <a:cxn ang="0">
                      <a:pos x="622" y="1636"/>
                    </a:cxn>
                    <a:cxn ang="0">
                      <a:pos x="708" y="1676"/>
                    </a:cxn>
                    <a:cxn ang="0">
                      <a:pos x="742" y="1660"/>
                    </a:cxn>
                    <a:cxn ang="0">
                      <a:pos x="836" y="1606"/>
                    </a:cxn>
                    <a:cxn ang="0">
                      <a:pos x="892" y="1528"/>
                    </a:cxn>
                    <a:cxn ang="0">
                      <a:pos x="1012" y="1188"/>
                    </a:cxn>
                    <a:cxn ang="0">
                      <a:pos x="1016" y="1342"/>
                    </a:cxn>
                    <a:cxn ang="0">
                      <a:pos x="1018" y="1494"/>
                    </a:cxn>
                    <a:cxn ang="0">
                      <a:pos x="1120" y="1598"/>
                    </a:cxn>
                    <a:cxn ang="0">
                      <a:pos x="1146" y="1430"/>
                    </a:cxn>
                    <a:cxn ang="0">
                      <a:pos x="1128" y="1158"/>
                    </a:cxn>
                    <a:cxn ang="0">
                      <a:pos x="1150" y="1176"/>
                    </a:cxn>
                    <a:cxn ang="0">
                      <a:pos x="1274" y="1528"/>
                    </a:cxn>
                    <a:cxn ang="0">
                      <a:pos x="1370" y="1646"/>
                    </a:cxn>
                    <a:cxn ang="0">
                      <a:pos x="1424" y="1660"/>
                    </a:cxn>
                    <a:cxn ang="0">
                      <a:pos x="1458" y="1676"/>
                    </a:cxn>
                    <a:cxn ang="0">
                      <a:pos x="1544" y="1636"/>
                    </a:cxn>
                    <a:cxn ang="0">
                      <a:pos x="1608" y="1608"/>
                    </a:cxn>
                    <a:cxn ang="0">
                      <a:pos x="1650" y="1562"/>
                    </a:cxn>
                    <a:cxn ang="0">
                      <a:pos x="1688" y="1550"/>
                    </a:cxn>
                    <a:cxn ang="0">
                      <a:pos x="1730" y="1500"/>
                    </a:cxn>
                    <a:cxn ang="0">
                      <a:pos x="1760" y="1476"/>
                    </a:cxn>
                    <a:cxn ang="0">
                      <a:pos x="1794" y="1442"/>
                    </a:cxn>
                    <a:cxn ang="0">
                      <a:pos x="1836" y="1284"/>
                    </a:cxn>
                    <a:cxn ang="0">
                      <a:pos x="1820" y="1198"/>
                    </a:cxn>
                    <a:cxn ang="0">
                      <a:pos x="1662" y="1020"/>
                    </a:cxn>
                    <a:cxn ang="0">
                      <a:pos x="1882" y="942"/>
                    </a:cxn>
                    <a:cxn ang="0">
                      <a:pos x="2086" y="544"/>
                    </a:cxn>
                    <a:cxn ang="0">
                      <a:pos x="1076" y="792"/>
                    </a:cxn>
                  </a:cxnLst>
                  <a:rect l="0" t="0" r="r" b="b"/>
                  <a:pathLst>
                    <a:path w="2164" h="1680">
                      <a:moveTo>
                        <a:pt x="2162" y="70"/>
                      </a:moveTo>
                      <a:lnTo>
                        <a:pt x="2162" y="70"/>
                      </a:lnTo>
                      <a:lnTo>
                        <a:pt x="2164" y="64"/>
                      </a:lnTo>
                      <a:lnTo>
                        <a:pt x="2164" y="60"/>
                      </a:lnTo>
                      <a:lnTo>
                        <a:pt x="2164" y="52"/>
                      </a:lnTo>
                      <a:lnTo>
                        <a:pt x="2160" y="44"/>
                      </a:lnTo>
                      <a:lnTo>
                        <a:pt x="2156" y="36"/>
                      </a:lnTo>
                      <a:lnTo>
                        <a:pt x="2146" y="28"/>
                      </a:lnTo>
                      <a:lnTo>
                        <a:pt x="2134" y="18"/>
                      </a:lnTo>
                      <a:lnTo>
                        <a:pt x="2134" y="18"/>
                      </a:lnTo>
                      <a:lnTo>
                        <a:pt x="2118" y="12"/>
                      </a:lnTo>
                      <a:lnTo>
                        <a:pt x="2102" y="6"/>
                      </a:lnTo>
                      <a:lnTo>
                        <a:pt x="2086" y="4"/>
                      </a:lnTo>
                      <a:lnTo>
                        <a:pt x="2072" y="2"/>
                      </a:lnTo>
                      <a:lnTo>
                        <a:pt x="2048" y="0"/>
                      </a:lnTo>
                      <a:lnTo>
                        <a:pt x="2038" y="0"/>
                      </a:lnTo>
                      <a:lnTo>
                        <a:pt x="1904" y="40"/>
                      </a:lnTo>
                      <a:lnTo>
                        <a:pt x="1752" y="118"/>
                      </a:lnTo>
                      <a:lnTo>
                        <a:pt x="1598" y="244"/>
                      </a:lnTo>
                      <a:lnTo>
                        <a:pt x="1476" y="370"/>
                      </a:lnTo>
                      <a:lnTo>
                        <a:pt x="1312" y="580"/>
                      </a:lnTo>
                      <a:lnTo>
                        <a:pt x="1216" y="732"/>
                      </a:lnTo>
                      <a:lnTo>
                        <a:pt x="1160" y="836"/>
                      </a:lnTo>
                      <a:lnTo>
                        <a:pt x="1142" y="870"/>
                      </a:lnTo>
                      <a:lnTo>
                        <a:pt x="1142" y="870"/>
                      </a:lnTo>
                      <a:lnTo>
                        <a:pt x="1142" y="860"/>
                      </a:lnTo>
                      <a:lnTo>
                        <a:pt x="1142" y="860"/>
                      </a:lnTo>
                      <a:lnTo>
                        <a:pt x="1142" y="856"/>
                      </a:lnTo>
                      <a:lnTo>
                        <a:pt x="1138" y="848"/>
                      </a:lnTo>
                      <a:lnTo>
                        <a:pt x="1126" y="832"/>
                      </a:lnTo>
                      <a:lnTo>
                        <a:pt x="1126" y="832"/>
                      </a:lnTo>
                      <a:lnTo>
                        <a:pt x="1132" y="822"/>
                      </a:lnTo>
                      <a:lnTo>
                        <a:pt x="1134" y="812"/>
                      </a:lnTo>
                      <a:lnTo>
                        <a:pt x="1134" y="812"/>
                      </a:lnTo>
                      <a:lnTo>
                        <a:pt x="1132" y="802"/>
                      </a:lnTo>
                      <a:lnTo>
                        <a:pt x="1126" y="794"/>
                      </a:lnTo>
                      <a:lnTo>
                        <a:pt x="1118" y="788"/>
                      </a:lnTo>
                      <a:lnTo>
                        <a:pt x="1108" y="786"/>
                      </a:lnTo>
                      <a:lnTo>
                        <a:pt x="1108" y="786"/>
                      </a:lnTo>
                      <a:lnTo>
                        <a:pt x="1104" y="786"/>
                      </a:lnTo>
                      <a:lnTo>
                        <a:pt x="1108" y="780"/>
                      </a:lnTo>
                      <a:lnTo>
                        <a:pt x="1100" y="780"/>
                      </a:lnTo>
                      <a:lnTo>
                        <a:pt x="1094" y="780"/>
                      </a:lnTo>
                      <a:lnTo>
                        <a:pt x="1094" y="780"/>
                      </a:lnTo>
                      <a:lnTo>
                        <a:pt x="1086" y="774"/>
                      </a:lnTo>
                      <a:lnTo>
                        <a:pt x="1086" y="776"/>
                      </a:lnTo>
                      <a:lnTo>
                        <a:pt x="1084" y="774"/>
                      </a:lnTo>
                      <a:lnTo>
                        <a:pt x="1080" y="778"/>
                      </a:lnTo>
                      <a:lnTo>
                        <a:pt x="1074" y="776"/>
                      </a:lnTo>
                      <a:lnTo>
                        <a:pt x="1074" y="780"/>
                      </a:lnTo>
                      <a:lnTo>
                        <a:pt x="1068" y="780"/>
                      </a:lnTo>
                      <a:lnTo>
                        <a:pt x="1064" y="780"/>
                      </a:lnTo>
                      <a:lnTo>
                        <a:pt x="1068" y="788"/>
                      </a:lnTo>
                      <a:lnTo>
                        <a:pt x="1068" y="788"/>
                      </a:lnTo>
                      <a:lnTo>
                        <a:pt x="1068" y="788"/>
                      </a:lnTo>
                      <a:lnTo>
                        <a:pt x="1058" y="786"/>
                      </a:lnTo>
                      <a:lnTo>
                        <a:pt x="1058" y="786"/>
                      </a:lnTo>
                      <a:lnTo>
                        <a:pt x="1048" y="788"/>
                      </a:lnTo>
                      <a:lnTo>
                        <a:pt x="1040" y="794"/>
                      </a:lnTo>
                      <a:lnTo>
                        <a:pt x="1034" y="802"/>
                      </a:lnTo>
                      <a:lnTo>
                        <a:pt x="1032" y="812"/>
                      </a:lnTo>
                      <a:lnTo>
                        <a:pt x="1032" y="812"/>
                      </a:lnTo>
                      <a:lnTo>
                        <a:pt x="1034" y="820"/>
                      </a:lnTo>
                      <a:lnTo>
                        <a:pt x="1036" y="828"/>
                      </a:lnTo>
                      <a:lnTo>
                        <a:pt x="1036" y="828"/>
                      </a:lnTo>
                      <a:lnTo>
                        <a:pt x="1024" y="846"/>
                      </a:lnTo>
                      <a:lnTo>
                        <a:pt x="1020" y="854"/>
                      </a:lnTo>
                      <a:lnTo>
                        <a:pt x="1018" y="860"/>
                      </a:lnTo>
                      <a:lnTo>
                        <a:pt x="1006" y="836"/>
                      </a:lnTo>
                      <a:lnTo>
                        <a:pt x="950" y="732"/>
                      </a:lnTo>
                      <a:lnTo>
                        <a:pt x="854" y="580"/>
                      </a:lnTo>
                      <a:lnTo>
                        <a:pt x="690" y="370"/>
                      </a:lnTo>
                      <a:lnTo>
                        <a:pt x="568" y="244"/>
                      </a:lnTo>
                      <a:lnTo>
                        <a:pt x="412" y="118"/>
                      </a:lnTo>
                      <a:lnTo>
                        <a:pt x="262" y="40"/>
                      </a:lnTo>
                      <a:lnTo>
                        <a:pt x="128" y="0"/>
                      </a:lnTo>
                      <a:lnTo>
                        <a:pt x="128" y="0"/>
                      </a:lnTo>
                      <a:lnTo>
                        <a:pt x="118" y="0"/>
                      </a:lnTo>
                      <a:lnTo>
                        <a:pt x="94" y="2"/>
                      </a:lnTo>
                      <a:lnTo>
                        <a:pt x="80" y="4"/>
                      </a:lnTo>
                      <a:lnTo>
                        <a:pt x="64" y="6"/>
                      </a:lnTo>
                      <a:lnTo>
                        <a:pt x="48" y="12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20" y="28"/>
                      </a:lnTo>
                      <a:lnTo>
                        <a:pt x="10" y="36"/>
                      </a:lnTo>
                      <a:lnTo>
                        <a:pt x="6" y="44"/>
                      </a:lnTo>
                      <a:lnTo>
                        <a:pt x="2" y="52"/>
                      </a:lnTo>
                      <a:lnTo>
                        <a:pt x="2" y="60"/>
                      </a:lnTo>
                      <a:lnTo>
                        <a:pt x="2" y="64"/>
                      </a:lnTo>
                      <a:lnTo>
                        <a:pt x="4" y="70"/>
                      </a:lnTo>
                      <a:lnTo>
                        <a:pt x="0" y="114"/>
                      </a:lnTo>
                      <a:lnTo>
                        <a:pt x="12" y="226"/>
                      </a:lnTo>
                      <a:lnTo>
                        <a:pt x="58" y="452"/>
                      </a:lnTo>
                      <a:lnTo>
                        <a:pt x="80" y="544"/>
                      </a:lnTo>
                      <a:lnTo>
                        <a:pt x="108" y="686"/>
                      </a:lnTo>
                      <a:lnTo>
                        <a:pt x="122" y="734"/>
                      </a:lnTo>
                      <a:lnTo>
                        <a:pt x="154" y="810"/>
                      </a:lnTo>
                      <a:lnTo>
                        <a:pt x="196" y="876"/>
                      </a:lnTo>
                      <a:lnTo>
                        <a:pt x="240" y="918"/>
                      </a:lnTo>
                      <a:lnTo>
                        <a:pt x="284" y="942"/>
                      </a:lnTo>
                      <a:lnTo>
                        <a:pt x="348" y="952"/>
                      </a:lnTo>
                      <a:lnTo>
                        <a:pt x="410" y="960"/>
                      </a:lnTo>
                      <a:lnTo>
                        <a:pt x="622" y="978"/>
                      </a:lnTo>
                      <a:lnTo>
                        <a:pt x="622" y="978"/>
                      </a:lnTo>
                      <a:lnTo>
                        <a:pt x="580" y="992"/>
                      </a:lnTo>
                      <a:lnTo>
                        <a:pt x="538" y="1006"/>
                      </a:lnTo>
                      <a:lnTo>
                        <a:pt x="504" y="1020"/>
                      </a:lnTo>
                      <a:lnTo>
                        <a:pt x="486" y="1028"/>
                      </a:lnTo>
                      <a:lnTo>
                        <a:pt x="486" y="1028"/>
                      </a:lnTo>
                      <a:lnTo>
                        <a:pt x="444" y="1066"/>
                      </a:lnTo>
                      <a:lnTo>
                        <a:pt x="410" y="1098"/>
                      </a:lnTo>
                      <a:lnTo>
                        <a:pt x="346" y="1198"/>
                      </a:lnTo>
                      <a:lnTo>
                        <a:pt x="346" y="1198"/>
                      </a:lnTo>
                      <a:lnTo>
                        <a:pt x="338" y="1222"/>
                      </a:lnTo>
                      <a:lnTo>
                        <a:pt x="330" y="1242"/>
                      </a:lnTo>
                      <a:lnTo>
                        <a:pt x="326" y="1256"/>
                      </a:lnTo>
                      <a:lnTo>
                        <a:pt x="326" y="1256"/>
                      </a:lnTo>
                      <a:lnTo>
                        <a:pt x="326" y="1270"/>
                      </a:lnTo>
                      <a:lnTo>
                        <a:pt x="330" y="1284"/>
                      </a:lnTo>
                      <a:lnTo>
                        <a:pt x="334" y="1302"/>
                      </a:lnTo>
                      <a:lnTo>
                        <a:pt x="334" y="1346"/>
                      </a:lnTo>
                      <a:lnTo>
                        <a:pt x="358" y="1386"/>
                      </a:lnTo>
                      <a:lnTo>
                        <a:pt x="370" y="1438"/>
                      </a:lnTo>
                      <a:lnTo>
                        <a:pt x="370" y="1438"/>
                      </a:lnTo>
                      <a:lnTo>
                        <a:pt x="372" y="1442"/>
                      </a:lnTo>
                      <a:lnTo>
                        <a:pt x="376" y="1454"/>
                      </a:lnTo>
                      <a:lnTo>
                        <a:pt x="380" y="1460"/>
                      </a:lnTo>
                      <a:lnTo>
                        <a:pt x="386" y="1466"/>
                      </a:lnTo>
                      <a:lnTo>
                        <a:pt x="396" y="1472"/>
                      </a:lnTo>
                      <a:lnTo>
                        <a:pt x="406" y="1476"/>
                      </a:lnTo>
                      <a:lnTo>
                        <a:pt x="406" y="1476"/>
                      </a:lnTo>
                      <a:lnTo>
                        <a:pt x="418" y="1480"/>
                      </a:lnTo>
                      <a:lnTo>
                        <a:pt x="424" y="1484"/>
                      </a:lnTo>
                      <a:lnTo>
                        <a:pt x="430" y="1488"/>
                      </a:lnTo>
                      <a:lnTo>
                        <a:pt x="434" y="1492"/>
                      </a:lnTo>
                      <a:lnTo>
                        <a:pt x="436" y="1498"/>
                      </a:lnTo>
                      <a:lnTo>
                        <a:pt x="436" y="1500"/>
                      </a:lnTo>
                      <a:lnTo>
                        <a:pt x="436" y="1500"/>
                      </a:lnTo>
                      <a:lnTo>
                        <a:pt x="444" y="1514"/>
                      </a:lnTo>
                      <a:lnTo>
                        <a:pt x="458" y="1534"/>
                      </a:lnTo>
                      <a:lnTo>
                        <a:pt x="458" y="1534"/>
                      </a:lnTo>
                      <a:lnTo>
                        <a:pt x="466" y="1540"/>
                      </a:lnTo>
                      <a:lnTo>
                        <a:pt x="478" y="1550"/>
                      </a:lnTo>
                      <a:lnTo>
                        <a:pt x="490" y="1556"/>
                      </a:lnTo>
                      <a:lnTo>
                        <a:pt x="498" y="1558"/>
                      </a:lnTo>
                      <a:lnTo>
                        <a:pt x="504" y="1558"/>
                      </a:lnTo>
                      <a:lnTo>
                        <a:pt x="504" y="1558"/>
                      </a:lnTo>
                      <a:lnTo>
                        <a:pt x="510" y="1558"/>
                      </a:lnTo>
                      <a:lnTo>
                        <a:pt x="516" y="1562"/>
                      </a:lnTo>
                      <a:lnTo>
                        <a:pt x="528" y="1572"/>
                      </a:lnTo>
                      <a:lnTo>
                        <a:pt x="536" y="1582"/>
                      </a:lnTo>
                      <a:lnTo>
                        <a:pt x="540" y="1588"/>
                      </a:lnTo>
                      <a:lnTo>
                        <a:pt x="540" y="1588"/>
                      </a:lnTo>
                      <a:lnTo>
                        <a:pt x="548" y="1598"/>
                      </a:lnTo>
                      <a:lnTo>
                        <a:pt x="558" y="1608"/>
                      </a:lnTo>
                      <a:lnTo>
                        <a:pt x="564" y="1612"/>
                      </a:lnTo>
                      <a:lnTo>
                        <a:pt x="570" y="1614"/>
                      </a:lnTo>
                      <a:lnTo>
                        <a:pt x="570" y="1614"/>
                      </a:lnTo>
                      <a:lnTo>
                        <a:pt x="586" y="1618"/>
                      </a:lnTo>
                      <a:lnTo>
                        <a:pt x="602" y="1626"/>
                      </a:lnTo>
                      <a:lnTo>
                        <a:pt x="622" y="1636"/>
                      </a:lnTo>
                      <a:lnTo>
                        <a:pt x="648" y="1656"/>
                      </a:lnTo>
                      <a:lnTo>
                        <a:pt x="676" y="1678"/>
                      </a:lnTo>
                      <a:lnTo>
                        <a:pt x="676" y="1678"/>
                      </a:lnTo>
                      <a:lnTo>
                        <a:pt x="682" y="1678"/>
                      </a:lnTo>
                      <a:lnTo>
                        <a:pt x="694" y="1680"/>
                      </a:lnTo>
                      <a:lnTo>
                        <a:pt x="708" y="1676"/>
                      </a:lnTo>
                      <a:lnTo>
                        <a:pt x="716" y="1674"/>
                      </a:lnTo>
                      <a:lnTo>
                        <a:pt x="724" y="1670"/>
                      </a:lnTo>
                      <a:lnTo>
                        <a:pt x="724" y="1670"/>
                      </a:lnTo>
                      <a:lnTo>
                        <a:pt x="730" y="1664"/>
                      </a:lnTo>
                      <a:lnTo>
                        <a:pt x="736" y="1662"/>
                      </a:lnTo>
                      <a:lnTo>
                        <a:pt x="742" y="1660"/>
                      </a:lnTo>
                      <a:lnTo>
                        <a:pt x="746" y="1660"/>
                      </a:lnTo>
                      <a:lnTo>
                        <a:pt x="754" y="1664"/>
                      </a:lnTo>
                      <a:lnTo>
                        <a:pt x="756" y="1664"/>
                      </a:lnTo>
                      <a:lnTo>
                        <a:pt x="772" y="1662"/>
                      </a:lnTo>
                      <a:lnTo>
                        <a:pt x="796" y="1646"/>
                      </a:lnTo>
                      <a:lnTo>
                        <a:pt x="836" y="1606"/>
                      </a:lnTo>
                      <a:lnTo>
                        <a:pt x="836" y="1606"/>
                      </a:lnTo>
                      <a:lnTo>
                        <a:pt x="840" y="1602"/>
                      </a:lnTo>
                      <a:lnTo>
                        <a:pt x="852" y="1588"/>
                      </a:lnTo>
                      <a:lnTo>
                        <a:pt x="870" y="1564"/>
                      </a:lnTo>
                      <a:lnTo>
                        <a:pt x="892" y="1528"/>
                      </a:lnTo>
                      <a:lnTo>
                        <a:pt x="892" y="1528"/>
                      </a:lnTo>
                      <a:lnTo>
                        <a:pt x="914" y="1478"/>
                      </a:lnTo>
                      <a:lnTo>
                        <a:pt x="938" y="1424"/>
                      </a:lnTo>
                      <a:lnTo>
                        <a:pt x="964" y="1362"/>
                      </a:lnTo>
                      <a:lnTo>
                        <a:pt x="964" y="1362"/>
                      </a:lnTo>
                      <a:lnTo>
                        <a:pt x="988" y="1268"/>
                      </a:lnTo>
                      <a:lnTo>
                        <a:pt x="1012" y="1188"/>
                      </a:lnTo>
                      <a:lnTo>
                        <a:pt x="1034" y="1116"/>
                      </a:lnTo>
                      <a:lnTo>
                        <a:pt x="1032" y="1158"/>
                      </a:lnTo>
                      <a:lnTo>
                        <a:pt x="1024" y="1232"/>
                      </a:lnTo>
                      <a:lnTo>
                        <a:pt x="1026" y="1256"/>
                      </a:lnTo>
                      <a:lnTo>
                        <a:pt x="1016" y="1290"/>
                      </a:lnTo>
                      <a:lnTo>
                        <a:pt x="1016" y="1342"/>
                      </a:lnTo>
                      <a:lnTo>
                        <a:pt x="1016" y="1356"/>
                      </a:lnTo>
                      <a:lnTo>
                        <a:pt x="1016" y="1430"/>
                      </a:lnTo>
                      <a:lnTo>
                        <a:pt x="1026" y="1436"/>
                      </a:lnTo>
                      <a:lnTo>
                        <a:pt x="1026" y="1446"/>
                      </a:lnTo>
                      <a:lnTo>
                        <a:pt x="1016" y="1458"/>
                      </a:lnTo>
                      <a:lnTo>
                        <a:pt x="1018" y="1494"/>
                      </a:lnTo>
                      <a:lnTo>
                        <a:pt x="1018" y="1552"/>
                      </a:lnTo>
                      <a:lnTo>
                        <a:pt x="1040" y="1598"/>
                      </a:lnTo>
                      <a:lnTo>
                        <a:pt x="1076" y="1628"/>
                      </a:lnTo>
                      <a:lnTo>
                        <a:pt x="1080" y="1596"/>
                      </a:lnTo>
                      <a:lnTo>
                        <a:pt x="1084" y="1628"/>
                      </a:lnTo>
                      <a:lnTo>
                        <a:pt x="1120" y="1598"/>
                      </a:lnTo>
                      <a:lnTo>
                        <a:pt x="1142" y="1552"/>
                      </a:lnTo>
                      <a:lnTo>
                        <a:pt x="1142" y="1494"/>
                      </a:lnTo>
                      <a:lnTo>
                        <a:pt x="1146" y="1458"/>
                      </a:lnTo>
                      <a:lnTo>
                        <a:pt x="1134" y="1446"/>
                      </a:lnTo>
                      <a:lnTo>
                        <a:pt x="1134" y="1436"/>
                      </a:lnTo>
                      <a:lnTo>
                        <a:pt x="1146" y="1430"/>
                      </a:lnTo>
                      <a:lnTo>
                        <a:pt x="1146" y="1356"/>
                      </a:lnTo>
                      <a:lnTo>
                        <a:pt x="1146" y="1342"/>
                      </a:lnTo>
                      <a:lnTo>
                        <a:pt x="1146" y="1290"/>
                      </a:lnTo>
                      <a:lnTo>
                        <a:pt x="1134" y="1256"/>
                      </a:lnTo>
                      <a:lnTo>
                        <a:pt x="1136" y="1232"/>
                      </a:lnTo>
                      <a:lnTo>
                        <a:pt x="1128" y="1158"/>
                      </a:lnTo>
                      <a:lnTo>
                        <a:pt x="1126" y="1116"/>
                      </a:lnTo>
                      <a:lnTo>
                        <a:pt x="1126" y="1116"/>
                      </a:lnTo>
                      <a:lnTo>
                        <a:pt x="1126" y="1106"/>
                      </a:lnTo>
                      <a:lnTo>
                        <a:pt x="1126" y="1106"/>
                      </a:lnTo>
                      <a:lnTo>
                        <a:pt x="1138" y="1136"/>
                      </a:lnTo>
                      <a:lnTo>
                        <a:pt x="1150" y="1176"/>
                      </a:lnTo>
                      <a:lnTo>
                        <a:pt x="1174" y="1260"/>
                      </a:lnTo>
                      <a:lnTo>
                        <a:pt x="1202" y="1362"/>
                      </a:lnTo>
                      <a:lnTo>
                        <a:pt x="1202" y="1362"/>
                      </a:lnTo>
                      <a:lnTo>
                        <a:pt x="1228" y="1424"/>
                      </a:lnTo>
                      <a:lnTo>
                        <a:pt x="1250" y="1478"/>
                      </a:lnTo>
                      <a:lnTo>
                        <a:pt x="1274" y="1528"/>
                      </a:lnTo>
                      <a:lnTo>
                        <a:pt x="1274" y="1528"/>
                      </a:lnTo>
                      <a:lnTo>
                        <a:pt x="1296" y="1564"/>
                      </a:lnTo>
                      <a:lnTo>
                        <a:pt x="1312" y="1588"/>
                      </a:lnTo>
                      <a:lnTo>
                        <a:pt x="1326" y="1602"/>
                      </a:lnTo>
                      <a:lnTo>
                        <a:pt x="1330" y="1606"/>
                      </a:lnTo>
                      <a:lnTo>
                        <a:pt x="1370" y="1646"/>
                      </a:lnTo>
                      <a:lnTo>
                        <a:pt x="1394" y="1662"/>
                      </a:lnTo>
                      <a:lnTo>
                        <a:pt x="1410" y="1664"/>
                      </a:lnTo>
                      <a:lnTo>
                        <a:pt x="1410" y="1664"/>
                      </a:lnTo>
                      <a:lnTo>
                        <a:pt x="1412" y="1664"/>
                      </a:lnTo>
                      <a:lnTo>
                        <a:pt x="1420" y="1660"/>
                      </a:lnTo>
                      <a:lnTo>
                        <a:pt x="1424" y="1660"/>
                      </a:lnTo>
                      <a:lnTo>
                        <a:pt x="1430" y="1662"/>
                      </a:lnTo>
                      <a:lnTo>
                        <a:pt x="1436" y="1664"/>
                      </a:lnTo>
                      <a:lnTo>
                        <a:pt x="1442" y="1670"/>
                      </a:lnTo>
                      <a:lnTo>
                        <a:pt x="1442" y="1670"/>
                      </a:lnTo>
                      <a:lnTo>
                        <a:pt x="1450" y="1674"/>
                      </a:lnTo>
                      <a:lnTo>
                        <a:pt x="1458" y="1676"/>
                      </a:lnTo>
                      <a:lnTo>
                        <a:pt x="1472" y="1680"/>
                      </a:lnTo>
                      <a:lnTo>
                        <a:pt x="1484" y="1678"/>
                      </a:lnTo>
                      <a:lnTo>
                        <a:pt x="1490" y="1678"/>
                      </a:lnTo>
                      <a:lnTo>
                        <a:pt x="1518" y="1656"/>
                      </a:lnTo>
                      <a:lnTo>
                        <a:pt x="1544" y="1636"/>
                      </a:lnTo>
                      <a:lnTo>
                        <a:pt x="1544" y="1636"/>
                      </a:lnTo>
                      <a:lnTo>
                        <a:pt x="1564" y="1626"/>
                      </a:lnTo>
                      <a:lnTo>
                        <a:pt x="1580" y="1618"/>
                      </a:lnTo>
                      <a:lnTo>
                        <a:pt x="1596" y="1614"/>
                      </a:lnTo>
                      <a:lnTo>
                        <a:pt x="1596" y="1614"/>
                      </a:lnTo>
                      <a:lnTo>
                        <a:pt x="1602" y="1612"/>
                      </a:lnTo>
                      <a:lnTo>
                        <a:pt x="1608" y="1608"/>
                      </a:lnTo>
                      <a:lnTo>
                        <a:pt x="1618" y="1598"/>
                      </a:lnTo>
                      <a:lnTo>
                        <a:pt x="1626" y="1588"/>
                      </a:lnTo>
                      <a:lnTo>
                        <a:pt x="1626" y="1588"/>
                      </a:lnTo>
                      <a:lnTo>
                        <a:pt x="1630" y="1582"/>
                      </a:lnTo>
                      <a:lnTo>
                        <a:pt x="1638" y="1572"/>
                      </a:lnTo>
                      <a:lnTo>
                        <a:pt x="1650" y="1562"/>
                      </a:lnTo>
                      <a:lnTo>
                        <a:pt x="1656" y="1558"/>
                      </a:lnTo>
                      <a:lnTo>
                        <a:pt x="1662" y="1558"/>
                      </a:lnTo>
                      <a:lnTo>
                        <a:pt x="1662" y="1558"/>
                      </a:lnTo>
                      <a:lnTo>
                        <a:pt x="1668" y="1558"/>
                      </a:lnTo>
                      <a:lnTo>
                        <a:pt x="1674" y="1556"/>
                      </a:lnTo>
                      <a:lnTo>
                        <a:pt x="1688" y="1550"/>
                      </a:lnTo>
                      <a:lnTo>
                        <a:pt x="1700" y="1540"/>
                      </a:lnTo>
                      <a:lnTo>
                        <a:pt x="1708" y="1534"/>
                      </a:lnTo>
                      <a:lnTo>
                        <a:pt x="1708" y="1534"/>
                      </a:lnTo>
                      <a:lnTo>
                        <a:pt x="1722" y="1514"/>
                      </a:lnTo>
                      <a:lnTo>
                        <a:pt x="1730" y="1500"/>
                      </a:lnTo>
                      <a:lnTo>
                        <a:pt x="1730" y="1500"/>
                      </a:lnTo>
                      <a:lnTo>
                        <a:pt x="1730" y="1498"/>
                      </a:lnTo>
                      <a:lnTo>
                        <a:pt x="1732" y="1492"/>
                      </a:lnTo>
                      <a:lnTo>
                        <a:pt x="1736" y="1488"/>
                      </a:lnTo>
                      <a:lnTo>
                        <a:pt x="1740" y="1484"/>
                      </a:lnTo>
                      <a:lnTo>
                        <a:pt x="1748" y="1480"/>
                      </a:lnTo>
                      <a:lnTo>
                        <a:pt x="1760" y="1476"/>
                      </a:lnTo>
                      <a:lnTo>
                        <a:pt x="1760" y="1476"/>
                      </a:lnTo>
                      <a:lnTo>
                        <a:pt x="1770" y="1472"/>
                      </a:lnTo>
                      <a:lnTo>
                        <a:pt x="1780" y="1466"/>
                      </a:lnTo>
                      <a:lnTo>
                        <a:pt x="1786" y="1460"/>
                      </a:lnTo>
                      <a:lnTo>
                        <a:pt x="1790" y="1454"/>
                      </a:lnTo>
                      <a:lnTo>
                        <a:pt x="1794" y="1442"/>
                      </a:lnTo>
                      <a:lnTo>
                        <a:pt x="1794" y="1438"/>
                      </a:lnTo>
                      <a:lnTo>
                        <a:pt x="1808" y="1386"/>
                      </a:lnTo>
                      <a:lnTo>
                        <a:pt x="1832" y="1346"/>
                      </a:lnTo>
                      <a:lnTo>
                        <a:pt x="1832" y="1302"/>
                      </a:lnTo>
                      <a:lnTo>
                        <a:pt x="1832" y="1302"/>
                      </a:lnTo>
                      <a:lnTo>
                        <a:pt x="1836" y="1284"/>
                      </a:lnTo>
                      <a:lnTo>
                        <a:pt x="1840" y="1270"/>
                      </a:lnTo>
                      <a:lnTo>
                        <a:pt x="1840" y="1256"/>
                      </a:lnTo>
                      <a:lnTo>
                        <a:pt x="1840" y="1256"/>
                      </a:lnTo>
                      <a:lnTo>
                        <a:pt x="1836" y="1242"/>
                      </a:lnTo>
                      <a:lnTo>
                        <a:pt x="1828" y="1222"/>
                      </a:lnTo>
                      <a:lnTo>
                        <a:pt x="1820" y="1198"/>
                      </a:lnTo>
                      <a:lnTo>
                        <a:pt x="1756" y="1098"/>
                      </a:lnTo>
                      <a:lnTo>
                        <a:pt x="1756" y="1098"/>
                      </a:lnTo>
                      <a:lnTo>
                        <a:pt x="1722" y="1066"/>
                      </a:lnTo>
                      <a:lnTo>
                        <a:pt x="1680" y="1028"/>
                      </a:lnTo>
                      <a:lnTo>
                        <a:pt x="1680" y="1028"/>
                      </a:lnTo>
                      <a:lnTo>
                        <a:pt x="1662" y="1020"/>
                      </a:lnTo>
                      <a:lnTo>
                        <a:pt x="1628" y="1006"/>
                      </a:lnTo>
                      <a:lnTo>
                        <a:pt x="1586" y="992"/>
                      </a:lnTo>
                      <a:lnTo>
                        <a:pt x="1544" y="978"/>
                      </a:lnTo>
                      <a:lnTo>
                        <a:pt x="1756" y="960"/>
                      </a:lnTo>
                      <a:lnTo>
                        <a:pt x="1818" y="952"/>
                      </a:lnTo>
                      <a:lnTo>
                        <a:pt x="1882" y="942"/>
                      </a:lnTo>
                      <a:lnTo>
                        <a:pt x="1926" y="918"/>
                      </a:lnTo>
                      <a:lnTo>
                        <a:pt x="1970" y="876"/>
                      </a:lnTo>
                      <a:lnTo>
                        <a:pt x="2012" y="810"/>
                      </a:lnTo>
                      <a:lnTo>
                        <a:pt x="2044" y="734"/>
                      </a:lnTo>
                      <a:lnTo>
                        <a:pt x="2058" y="686"/>
                      </a:lnTo>
                      <a:lnTo>
                        <a:pt x="2086" y="544"/>
                      </a:lnTo>
                      <a:lnTo>
                        <a:pt x="2108" y="452"/>
                      </a:lnTo>
                      <a:lnTo>
                        <a:pt x="2154" y="226"/>
                      </a:lnTo>
                      <a:lnTo>
                        <a:pt x="2164" y="114"/>
                      </a:lnTo>
                      <a:lnTo>
                        <a:pt x="2162" y="70"/>
                      </a:lnTo>
                      <a:close/>
                      <a:moveTo>
                        <a:pt x="1076" y="792"/>
                      </a:moveTo>
                      <a:lnTo>
                        <a:pt x="1076" y="792"/>
                      </a:lnTo>
                      <a:lnTo>
                        <a:pt x="1076" y="790"/>
                      </a:lnTo>
                      <a:lnTo>
                        <a:pt x="1076" y="790"/>
                      </a:lnTo>
                      <a:lnTo>
                        <a:pt x="1076" y="79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>
                  <a:glow rad="177800">
                    <a:schemeClr val="bg2">
                      <a:lumMod val="60000"/>
                      <a:lumOff val="40000"/>
                      <a:alpha val="11000"/>
                    </a:schemeClr>
                  </a:glow>
                  <a:softEdge rad="254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25" name="Group 142"/>
              <p:cNvGrpSpPr>
                <a:grpSpLocks noChangeAspect="1"/>
              </p:cNvGrpSpPr>
              <p:nvPr/>
            </p:nvGrpSpPr>
            <p:grpSpPr>
              <a:xfrm rot="19493664">
                <a:off x="353923" y="1671596"/>
                <a:ext cx="992740" cy="814144"/>
                <a:chOff x="381000" y="304800"/>
                <a:chExt cx="3317876" cy="2720975"/>
              </a:xfrm>
              <a:solidFill>
                <a:schemeClr val="bg2">
                  <a:lumMod val="60000"/>
                  <a:lumOff val="40000"/>
                  <a:alpha val="1000"/>
                </a:schemeClr>
              </a:solidFill>
            </p:grpSpPr>
            <p:sp>
              <p:nvSpPr>
                <p:cNvPr id="246" name="Freeform 79"/>
                <p:cNvSpPr>
                  <a:spLocks/>
                </p:cNvSpPr>
                <p:nvPr/>
              </p:nvSpPr>
              <p:spPr bwMode="auto">
                <a:xfrm>
                  <a:off x="1660525" y="654050"/>
                  <a:ext cx="368300" cy="546100"/>
                </a:xfrm>
                <a:custGeom>
                  <a:avLst/>
                  <a:gdLst/>
                  <a:ahLst/>
                  <a:cxnLst>
                    <a:cxn ang="0">
                      <a:pos x="230" y="344"/>
                    </a:cxn>
                    <a:cxn ang="0">
                      <a:pos x="230" y="344"/>
                    </a:cxn>
                    <a:cxn ang="0">
                      <a:pos x="232" y="344"/>
                    </a:cxn>
                    <a:cxn ang="0">
                      <a:pos x="232" y="342"/>
                    </a:cxn>
                    <a:cxn ang="0">
                      <a:pos x="232" y="342"/>
                    </a:cxn>
                    <a:cxn ang="0">
                      <a:pos x="224" y="328"/>
                    </a:cxn>
                    <a:cxn ang="0">
                      <a:pos x="48" y="50"/>
                    </a:cxn>
                    <a:cxn ang="0">
                      <a:pos x="48" y="50"/>
                    </a:cxn>
                    <a:cxn ang="0">
                      <a:pos x="30" y="24"/>
                    </a:cxn>
                    <a:cxn ang="0">
                      <a:pos x="30" y="24"/>
                    </a:cxn>
                    <a:cxn ang="0">
                      <a:pos x="22" y="12"/>
                    </a:cxn>
                    <a:cxn ang="0">
                      <a:pos x="10" y="2"/>
                    </a:cxn>
                    <a:cxn ang="0">
                      <a:pos x="10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4"/>
                    </a:cxn>
                    <a:cxn ang="0">
                      <a:pos x="4" y="14"/>
                    </a:cxn>
                    <a:cxn ang="0">
                      <a:pos x="10" y="22"/>
                    </a:cxn>
                    <a:cxn ang="0">
                      <a:pos x="10" y="22"/>
                    </a:cxn>
                    <a:cxn ang="0">
                      <a:pos x="18" y="30"/>
                    </a:cxn>
                    <a:cxn ang="0">
                      <a:pos x="26" y="42"/>
                    </a:cxn>
                    <a:cxn ang="0">
                      <a:pos x="218" y="332"/>
                    </a:cxn>
                    <a:cxn ang="0">
                      <a:pos x="218" y="332"/>
                    </a:cxn>
                    <a:cxn ang="0">
                      <a:pos x="226" y="340"/>
                    </a:cxn>
                    <a:cxn ang="0">
                      <a:pos x="230" y="344"/>
                    </a:cxn>
                    <a:cxn ang="0">
                      <a:pos x="230" y="344"/>
                    </a:cxn>
                  </a:cxnLst>
                  <a:rect l="0" t="0" r="r" b="b"/>
                  <a:pathLst>
                    <a:path w="232" h="344">
                      <a:moveTo>
                        <a:pt x="230" y="344"/>
                      </a:moveTo>
                      <a:lnTo>
                        <a:pt x="230" y="344"/>
                      </a:lnTo>
                      <a:lnTo>
                        <a:pt x="232" y="344"/>
                      </a:lnTo>
                      <a:lnTo>
                        <a:pt x="232" y="342"/>
                      </a:lnTo>
                      <a:lnTo>
                        <a:pt x="232" y="342"/>
                      </a:lnTo>
                      <a:lnTo>
                        <a:pt x="224" y="328"/>
                      </a:lnTo>
                      <a:lnTo>
                        <a:pt x="48" y="50"/>
                      </a:lnTo>
                      <a:lnTo>
                        <a:pt x="48" y="50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22" y="1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14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8" y="30"/>
                      </a:lnTo>
                      <a:lnTo>
                        <a:pt x="26" y="42"/>
                      </a:lnTo>
                      <a:lnTo>
                        <a:pt x="218" y="332"/>
                      </a:lnTo>
                      <a:lnTo>
                        <a:pt x="218" y="332"/>
                      </a:lnTo>
                      <a:lnTo>
                        <a:pt x="226" y="340"/>
                      </a:lnTo>
                      <a:lnTo>
                        <a:pt x="230" y="344"/>
                      </a:lnTo>
                      <a:lnTo>
                        <a:pt x="230" y="3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7" name="Freeform 80"/>
                <p:cNvSpPr>
                  <a:spLocks/>
                </p:cNvSpPr>
                <p:nvPr/>
              </p:nvSpPr>
              <p:spPr bwMode="auto">
                <a:xfrm>
                  <a:off x="2032000" y="1216025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8" name="Freeform 81"/>
                <p:cNvSpPr>
                  <a:spLocks/>
                </p:cNvSpPr>
                <p:nvPr/>
              </p:nvSpPr>
              <p:spPr bwMode="auto">
                <a:xfrm>
                  <a:off x="2057401" y="654050"/>
                  <a:ext cx="368300" cy="546100"/>
                </a:xfrm>
                <a:custGeom>
                  <a:avLst/>
                  <a:gdLst/>
                  <a:ahLst/>
                  <a:cxnLst>
                    <a:cxn ang="0">
                      <a:pos x="2" y="344"/>
                    </a:cxn>
                    <a:cxn ang="0">
                      <a:pos x="2" y="344"/>
                    </a:cxn>
                    <a:cxn ang="0">
                      <a:pos x="6" y="340"/>
                    </a:cxn>
                    <a:cxn ang="0">
                      <a:pos x="14" y="332"/>
                    </a:cxn>
                    <a:cxn ang="0">
                      <a:pos x="206" y="42"/>
                    </a:cxn>
                    <a:cxn ang="0">
                      <a:pos x="206" y="42"/>
                    </a:cxn>
                    <a:cxn ang="0">
                      <a:pos x="214" y="30"/>
                    </a:cxn>
                    <a:cxn ang="0">
                      <a:pos x="222" y="22"/>
                    </a:cxn>
                    <a:cxn ang="0">
                      <a:pos x="222" y="22"/>
                    </a:cxn>
                    <a:cxn ang="0">
                      <a:pos x="228" y="14"/>
                    </a:cxn>
                    <a:cxn ang="0">
                      <a:pos x="232" y="4"/>
                    </a:cxn>
                    <a:cxn ang="0">
                      <a:pos x="232" y="4"/>
                    </a:cxn>
                    <a:cxn ang="0">
                      <a:pos x="232" y="0"/>
                    </a:cxn>
                    <a:cxn ang="0">
                      <a:pos x="230" y="0"/>
                    </a:cxn>
                    <a:cxn ang="0">
                      <a:pos x="226" y="0"/>
                    </a:cxn>
                    <a:cxn ang="0">
                      <a:pos x="222" y="2"/>
                    </a:cxn>
                    <a:cxn ang="0">
                      <a:pos x="222" y="2"/>
                    </a:cxn>
                    <a:cxn ang="0">
                      <a:pos x="210" y="12"/>
                    </a:cxn>
                    <a:cxn ang="0">
                      <a:pos x="202" y="24"/>
                    </a:cxn>
                    <a:cxn ang="0">
                      <a:pos x="202" y="24"/>
                    </a:cxn>
                    <a:cxn ang="0">
                      <a:pos x="184" y="50"/>
                    </a:cxn>
                    <a:cxn ang="0">
                      <a:pos x="8" y="328"/>
                    </a:cxn>
                    <a:cxn ang="0">
                      <a:pos x="8" y="328"/>
                    </a:cxn>
                    <a:cxn ang="0">
                      <a:pos x="0" y="342"/>
                    </a:cxn>
                    <a:cxn ang="0">
                      <a:pos x="0" y="342"/>
                    </a:cxn>
                    <a:cxn ang="0">
                      <a:pos x="0" y="344"/>
                    </a:cxn>
                    <a:cxn ang="0">
                      <a:pos x="0" y="344"/>
                    </a:cxn>
                    <a:cxn ang="0">
                      <a:pos x="2" y="344"/>
                    </a:cxn>
                    <a:cxn ang="0">
                      <a:pos x="2" y="344"/>
                    </a:cxn>
                  </a:cxnLst>
                  <a:rect l="0" t="0" r="r" b="b"/>
                  <a:pathLst>
                    <a:path w="232" h="344">
                      <a:moveTo>
                        <a:pt x="2" y="344"/>
                      </a:moveTo>
                      <a:lnTo>
                        <a:pt x="2" y="344"/>
                      </a:lnTo>
                      <a:lnTo>
                        <a:pt x="6" y="340"/>
                      </a:lnTo>
                      <a:lnTo>
                        <a:pt x="14" y="332"/>
                      </a:lnTo>
                      <a:lnTo>
                        <a:pt x="206" y="42"/>
                      </a:lnTo>
                      <a:lnTo>
                        <a:pt x="206" y="42"/>
                      </a:lnTo>
                      <a:lnTo>
                        <a:pt x="214" y="30"/>
                      </a:lnTo>
                      <a:lnTo>
                        <a:pt x="222" y="22"/>
                      </a:lnTo>
                      <a:lnTo>
                        <a:pt x="222" y="22"/>
                      </a:lnTo>
                      <a:lnTo>
                        <a:pt x="228" y="14"/>
                      </a:lnTo>
                      <a:lnTo>
                        <a:pt x="232" y="4"/>
                      </a:lnTo>
                      <a:lnTo>
                        <a:pt x="232" y="4"/>
                      </a:lnTo>
                      <a:lnTo>
                        <a:pt x="232" y="0"/>
                      </a:lnTo>
                      <a:lnTo>
                        <a:pt x="230" y="0"/>
                      </a:lnTo>
                      <a:lnTo>
                        <a:pt x="226" y="0"/>
                      </a:lnTo>
                      <a:lnTo>
                        <a:pt x="222" y="2"/>
                      </a:lnTo>
                      <a:lnTo>
                        <a:pt x="222" y="2"/>
                      </a:lnTo>
                      <a:lnTo>
                        <a:pt x="210" y="12"/>
                      </a:lnTo>
                      <a:lnTo>
                        <a:pt x="202" y="24"/>
                      </a:lnTo>
                      <a:lnTo>
                        <a:pt x="202" y="24"/>
                      </a:lnTo>
                      <a:lnTo>
                        <a:pt x="184" y="50"/>
                      </a:lnTo>
                      <a:lnTo>
                        <a:pt x="8" y="328"/>
                      </a:lnTo>
                      <a:lnTo>
                        <a:pt x="8" y="328"/>
                      </a:lnTo>
                      <a:lnTo>
                        <a:pt x="0" y="342"/>
                      </a:lnTo>
                      <a:lnTo>
                        <a:pt x="0" y="342"/>
                      </a:lnTo>
                      <a:lnTo>
                        <a:pt x="0" y="344"/>
                      </a:lnTo>
                      <a:lnTo>
                        <a:pt x="0" y="344"/>
                      </a:lnTo>
                      <a:lnTo>
                        <a:pt x="2" y="344"/>
                      </a:lnTo>
                      <a:lnTo>
                        <a:pt x="2" y="3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9" name="Freeform 82"/>
                <p:cNvSpPr>
                  <a:spLocks noEditPoints="1"/>
                </p:cNvSpPr>
                <p:nvPr/>
              </p:nvSpPr>
              <p:spPr bwMode="auto">
                <a:xfrm>
                  <a:off x="381000" y="304800"/>
                  <a:ext cx="3317876" cy="2720975"/>
                </a:xfrm>
                <a:custGeom>
                  <a:avLst/>
                  <a:gdLst/>
                  <a:ahLst/>
                  <a:cxnLst>
                    <a:cxn ang="0">
                      <a:pos x="1784" y="18"/>
                    </a:cxn>
                    <a:cxn ang="0">
                      <a:pos x="1368" y="254"/>
                    </a:cxn>
                    <a:cxn ang="0">
                      <a:pos x="1096" y="632"/>
                    </a:cxn>
                    <a:cxn ang="0">
                      <a:pos x="1066" y="570"/>
                    </a:cxn>
                    <a:cxn ang="0">
                      <a:pos x="1044" y="562"/>
                    </a:cxn>
                    <a:cxn ang="0">
                      <a:pos x="1016" y="572"/>
                    </a:cxn>
                    <a:cxn ang="0">
                      <a:pos x="992" y="628"/>
                    </a:cxn>
                    <a:cxn ang="0">
                      <a:pos x="680" y="216"/>
                    </a:cxn>
                    <a:cxn ang="0">
                      <a:pos x="268" y="10"/>
                    </a:cxn>
                    <a:cxn ang="0">
                      <a:pos x="34" y="198"/>
                    </a:cxn>
                    <a:cxn ang="0">
                      <a:pos x="86" y="264"/>
                    </a:cxn>
                    <a:cxn ang="0">
                      <a:pos x="156" y="340"/>
                    </a:cxn>
                    <a:cxn ang="0">
                      <a:pos x="198" y="442"/>
                    </a:cxn>
                    <a:cxn ang="0">
                      <a:pos x="224" y="492"/>
                    </a:cxn>
                    <a:cxn ang="0">
                      <a:pos x="240" y="572"/>
                    </a:cxn>
                    <a:cxn ang="0">
                      <a:pos x="272" y="640"/>
                    </a:cxn>
                    <a:cxn ang="0">
                      <a:pos x="378" y="740"/>
                    </a:cxn>
                    <a:cxn ang="0">
                      <a:pos x="470" y="858"/>
                    </a:cxn>
                    <a:cxn ang="0">
                      <a:pos x="342" y="1124"/>
                    </a:cxn>
                    <a:cxn ang="0">
                      <a:pos x="376" y="1176"/>
                    </a:cxn>
                    <a:cxn ang="0">
                      <a:pos x="406" y="1268"/>
                    </a:cxn>
                    <a:cxn ang="0">
                      <a:pos x="458" y="1316"/>
                    </a:cxn>
                    <a:cxn ang="0">
                      <a:pos x="502" y="1380"/>
                    </a:cxn>
                    <a:cxn ang="0">
                      <a:pos x="536" y="1422"/>
                    </a:cxn>
                    <a:cxn ang="0">
                      <a:pos x="460" y="1554"/>
                    </a:cxn>
                    <a:cxn ang="0">
                      <a:pos x="414" y="1686"/>
                    </a:cxn>
                    <a:cxn ang="0">
                      <a:pos x="486" y="1704"/>
                    </a:cxn>
                    <a:cxn ang="0">
                      <a:pos x="586" y="1526"/>
                    </a:cxn>
                    <a:cxn ang="0">
                      <a:pos x="662" y="1528"/>
                    </a:cxn>
                    <a:cxn ang="0">
                      <a:pos x="700" y="1528"/>
                    </a:cxn>
                    <a:cxn ang="0">
                      <a:pos x="768" y="1532"/>
                    </a:cxn>
                    <a:cxn ang="0">
                      <a:pos x="816" y="1452"/>
                    </a:cxn>
                    <a:cxn ang="0">
                      <a:pos x="978" y="928"/>
                    </a:cxn>
                    <a:cxn ang="0">
                      <a:pos x="996" y="942"/>
                    </a:cxn>
                    <a:cxn ang="0">
                      <a:pos x="992" y="1208"/>
                    </a:cxn>
                    <a:cxn ang="0">
                      <a:pos x="1088" y="1112"/>
                    </a:cxn>
                    <a:cxn ang="0">
                      <a:pos x="1088" y="854"/>
                    </a:cxn>
                    <a:cxn ang="0">
                      <a:pos x="1138" y="1056"/>
                    </a:cxn>
                    <a:cxn ang="0">
                      <a:pos x="1284" y="1500"/>
                    </a:cxn>
                    <a:cxn ang="0">
                      <a:pos x="1334" y="1528"/>
                    </a:cxn>
                    <a:cxn ang="0">
                      <a:pos x="1406" y="1536"/>
                    </a:cxn>
                    <a:cxn ang="0">
                      <a:pos x="1458" y="1516"/>
                    </a:cxn>
                    <a:cxn ang="0">
                      <a:pos x="1542" y="1592"/>
                    </a:cxn>
                    <a:cxn ang="0">
                      <a:pos x="1626" y="1714"/>
                    </a:cxn>
                    <a:cxn ang="0">
                      <a:pos x="1680" y="1650"/>
                    </a:cxn>
                    <a:cxn ang="0">
                      <a:pos x="1618" y="1546"/>
                    </a:cxn>
                    <a:cxn ang="0">
                      <a:pos x="1560" y="1404"/>
                    </a:cxn>
                    <a:cxn ang="0">
                      <a:pos x="1616" y="1378"/>
                    </a:cxn>
                    <a:cxn ang="0">
                      <a:pos x="1634" y="1294"/>
                    </a:cxn>
                    <a:cxn ang="0">
                      <a:pos x="1706" y="1248"/>
                    </a:cxn>
                    <a:cxn ang="0">
                      <a:pos x="1726" y="1166"/>
                    </a:cxn>
                    <a:cxn ang="0">
                      <a:pos x="1702" y="1004"/>
                    </a:cxn>
                    <a:cxn ang="0">
                      <a:pos x="1528" y="790"/>
                    </a:cxn>
                    <a:cxn ang="0">
                      <a:pos x="1758" y="718"/>
                    </a:cxn>
                    <a:cxn ang="0">
                      <a:pos x="1830" y="612"/>
                    </a:cxn>
                    <a:cxn ang="0">
                      <a:pos x="1868" y="536"/>
                    </a:cxn>
                    <a:cxn ang="0">
                      <a:pos x="1876" y="472"/>
                    </a:cxn>
                    <a:cxn ang="0">
                      <a:pos x="1898" y="394"/>
                    </a:cxn>
                    <a:cxn ang="0">
                      <a:pos x="1964" y="304"/>
                    </a:cxn>
                    <a:cxn ang="0">
                      <a:pos x="2020" y="236"/>
                    </a:cxn>
                    <a:cxn ang="0">
                      <a:pos x="1040" y="574"/>
                    </a:cxn>
                  </a:cxnLst>
                  <a:rect l="0" t="0" r="r" b="b"/>
                  <a:pathLst>
                    <a:path w="2090" h="1714">
                      <a:moveTo>
                        <a:pt x="2088" y="78"/>
                      </a:moveTo>
                      <a:lnTo>
                        <a:pt x="2070" y="44"/>
                      </a:lnTo>
                      <a:lnTo>
                        <a:pt x="2028" y="16"/>
                      </a:lnTo>
                      <a:lnTo>
                        <a:pt x="1964" y="4"/>
                      </a:lnTo>
                      <a:lnTo>
                        <a:pt x="1896" y="0"/>
                      </a:lnTo>
                      <a:lnTo>
                        <a:pt x="1896" y="0"/>
                      </a:lnTo>
                      <a:lnTo>
                        <a:pt x="1876" y="2"/>
                      </a:lnTo>
                      <a:lnTo>
                        <a:pt x="1852" y="4"/>
                      </a:lnTo>
                      <a:lnTo>
                        <a:pt x="1822" y="10"/>
                      </a:lnTo>
                      <a:lnTo>
                        <a:pt x="1784" y="18"/>
                      </a:lnTo>
                      <a:lnTo>
                        <a:pt x="1740" y="30"/>
                      </a:lnTo>
                      <a:lnTo>
                        <a:pt x="1694" y="46"/>
                      </a:lnTo>
                      <a:lnTo>
                        <a:pt x="1642" y="66"/>
                      </a:lnTo>
                      <a:lnTo>
                        <a:pt x="1642" y="66"/>
                      </a:lnTo>
                      <a:lnTo>
                        <a:pt x="1592" y="92"/>
                      </a:lnTo>
                      <a:lnTo>
                        <a:pt x="1544" y="118"/>
                      </a:lnTo>
                      <a:lnTo>
                        <a:pt x="1498" y="148"/>
                      </a:lnTo>
                      <a:lnTo>
                        <a:pt x="1454" y="180"/>
                      </a:lnTo>
                      <a:lnTo>
                        <a:pt x="1410" y="216"/>
                      </a:lnTo>
                      <a:lnTo>
                        <a:pt x="1368" y="254"/>
                      </a:lnTo>
                      <a:lnTo>
                        <a:pt x="1328" y="296"/>
                      </a:lnTo>
                      <a:lnTo>
                        <a:pt x="1286" y="342"/>
                      </a:lnTo>
                      <a:lnTo>
                        <a:pt x="1286" y="342"/>
                      </a:lnTo>
                      <a:lnTo>
                        <a:pt x="1254" y="380"/>
                      </a:lnTo>
                      <a:lnTo>
                        <a:pt x="1224" y="420"/>
                      </a:lnTo>
                      <a:lnTo>
                        <a:pt x="1196" y="462"/>
                      </a:lnTo>
                      <a:lnTo>
                        <a:pt x="1170" y="504"/>
                      </a:lnTo>
                      <a:lnTo>
                        <a:pt x="1124" y="578"/>
                      </a:lnTo>
                      <a:lnTo>
                        <a:pt x="1096" y="632"/>
                      </a:lnTo>
                      <a:lnTo>
                        <a:pt x="1096" y="632"/>
                      </a:lnTo>
                      <a:lnTo>
                        <a:pt x="1092" y="622"/>
                      </a:lnTo>
                      <a:lnTo>
                        <a:pt x="1082" y="608"/>
                      </a:lnTo>
                      <a:lnTo>
                        <a:pt x="1082" y="608"/>
                      </a:lnTo>
                      <a:lnTo>
                        <a:pt x="1086" y="600"/>
                      </a:lnTo>
                      <a:lnTo>
                        <a:pt x="1088" y="592"/>
                      </a:lnTo>
                      <a:lnTo>
                        <a:pt x="1088" y="592"/>
                      </a:lnTo>
                      <a:lnTo>
                        <a:pt x="1086" y="584"/>
                      </a:lnTo>
                      <a:lnTo>
                        <a:pt x="1082" y="576"/>
                      </a:lnTo>
                      <a:lnTo>
                        <a:pt x="1074" y="572"/>
                      </a:lnTo>
                      <a:lnTo>
                        <a:pt x="1066" y="570"/>
                      </a:lnTo>
                      <a:lnTo>
                        <a:pt x="1066" y="570"/>
                      </a:lnTo>
                      <a:lnTo>
                        <a:pt x="1064" y="570"/>
                      </a:lnTo>
                      <a:lnTo>
                        <a:pt x="1066" y="564"/>
                      </a:lnTo>
                      <a:lnTo>
                        <a:pt x="1060" y="564"/>
                      </a:lnTo>
                      <a:lnTo>
                        <a:pt x="1056" y="564"/>
                      </a:lnTo>
                      <a:lnTo>
                        <a:pt x="1056" y="564"/>
                      </a:lnTo>
                      <a:lnTo>
                        <a:pt x="1050" y="558"/>
                      </a:lnTo>
                      <a:lnTo>
                        <a:pt x="1048" y="560"/>
                      </a:lnTo>
                      <a:lnTo>
                        <a:pt x="1048" y="558"/>
                      </a:lnTo>
                      <a:lnTo>
                        <a:pt x="1044" y="562"/>
                      </a:lnTo>
                      <a:lnTo>
                        <a:pt x="1038" y="560"/>
                      </a:lnTo>
                      <a:lnTo>
                        <a:pt x="1038" y="564"/>
                      </a:lnTo>
                      <a:lnTo>
                        <a:pt x="1034" y="564"/>
                      </a:lnTo>
                      <a:lnTo>
                        <a:pt x="1030" y="564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26" y="570"/>
                      </a:lnTo>
                      <a:lnTo>
                        <a:pt x="1026" y="570"/>
                      </a:lnTo>
                      <a:lnTo>
                        <a:pt x="1016" y="572"/>
                      </a:lnTo>
                      <a:lnTo>
                        <a:pt x="1010" y="576"/>
                      </a:lnTo>
                      <a:lnTo>
                        <a:pt x="1004" y="584"/>
                      </a:lnTo>
                      <a:lnTo>
                        <a:pt x="1004" y="592"/>
                      </a:lnTo>
                      <a:lnTo>
                        <a:pt x="1004" y="592"/>
                      </a:lnTo>
                      <a:lnTo>
                        <a:pt x="1004" y="598"/>
                      </a:lnTo>
                      <a:lnTo>
                        <a:pt x="1008" y="604"/>
                      </a:lnTo>
                      <a:lnTo>
                        <a:pt x="1008" y="604"/>
                      </a:lnTo>
                      <a:lnTo>
                        <a:pt x="998" y="618"/>
                      </a:lnTo>
                      <a:lnTo>
                        <a:pt x="992" y="628"/>
                      </a:lnTo>
                      <a:lnTo>
                        <a:pt x="992" y="628"/>
                      </a:lnTo>
                      <a:lnTo>
                        <a:pt x="962" y="574"/>
                      </a:lnTo>
                      <a:lnTo>
                        <a:pt x="918" y="500"/>
                      </a:lnTo>
                      <a:lnTo>
                        <a:pt x="892" y="460"/>
                      </a:lnTo>
                      <a:lnTo>
                        <a:pt x="864" y="420"/>
                      </a:lnTo>
                      <a:lnTo>
                        <a:pt x="834" y="378"/>
                      </a:lnTo>
                      <a:lnTo>
                        <a:pt x="802" y="342"/>
                      </a:lnTo>
                      <a:lnTo>
                        <a:pt x="802" y="342"/>
                      </a:lnTo>
                      <a:lnTo>
                        <a:pt x="762" y="296"/>
                      </a:lnTo>
                      <a:lnTo>
                        <a:pt x="720" y="254"/>
                      </a:lnTo>
                      <a:lnTo>
                        <a:pt x="680" y="216"/>
                      </a:lnTo>
                      <a:lnTo>
                        <a:pt x="636" y="180"/>
                      </a:lnTo>
                      <a:lnTo>
                        <a:pt x="592" y="148"/>
                      </a:lnTo>
                      <a:lnTo>
                        <a:pt x="546" y="118"/>
                      </a:lnTo>
                      <a:lnTo>
                        <a:pt x="498" y="92"/>
                      </a:lnTo>
                      <a:lnTo>
                        <a:pt x="448" y="66"/>
                      </a:lnTo>
                      <a:lnTo>
                        <a:pt x="448" y="66"/>
                      </a:lnTo>
                      <a:lnTo>
                        <a:pt x="396" y="46"/>
                      </a:lnTo>
                      <a:lnTo>
                        <a:pt x="348" y="30"/>
                      </a:lnTo>
                      <a:lnTo>
                        <a:pt x="306" y="18"/>
                      </a:lnTo>
                      <a:lnTo>
                        <a:pt x="268" y="10"/>
                      </a:lnTo>
                      <a:lnTo>
                        <a:pt x="238" y="4"/>
                      </a:lnTo>
                      <a:lnTo>
                        <a:pt x="214" y="2"/>
                      </a:lnTo>
                      <a:lnTo>
                        <a:pt x="194" y="0"/>
                      </a:lnTo>
                      <a:lnTo>
                        <a:pt x="126" y="4"/>
                      </a:lnTo>
                      <a:lnTo>
                        <a:pt x="62" y="16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2"/>
                      </a:lnTo>
                      <a:lnTo>
                        <a:pt x="12" y="154"/>
                      </a:lnTo>
                      <a:lnTo>
                        <a:pt x="34" y="198"/>
                      </a:lnTo>
                      <a:lnTo>
                        <a:pt x="34" y="198"/>
                      </a:lnTo>
                      <a:lnTo>
                        <a:pt x="44" y="214"/>
                      </a:lnTo>
                      <a:lnTo>
                        <a:pt x="56" y="226"/>
                      </a:lnTo>
                      <a:lnTo>
                        <a:pt x="60" y="232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70" y="236"/>
                      </a:lnTo>
                      <a:lnTo>
                        <a:pt x="74" y="240"/>
                      </a:lnTo>
                      <a:lnTo>
                        <a:pt x="80" y="252"/>
                      </a:lnTo>
                      <a:lnTo>
                        <a:pt x="86" y="264"/>
                      </a:lnTo>
                      <a:lnTo>
                        <a:pt x="86" y="264"/>
                      </a:lnTo>
                      <a:lnTo>
                        <a:pt x="94" y="278"/>
                      </a:lnTo>
                      <a:lnTo>
                        <a:pt x="104" y="290"/>
                      </a:lnTo>
                      <a:lnTo>
                        <a:pt x="112" y="296"/>
                      </a:lnTo>
                      <a:lnTo>
                        <a:pt x="118" y="300"/>
                      </a:lnTo>
                      <a:lnTo>
                        <a:pt x="118" y="300"/>
                      </a:lnTo>
                      <a:lnTo>
                        <a:pt x="126" y="304"/>
                      </a:lnTo>
                      <a:lnTo>
                        <a:pt x="132" y="310"/>
                      </a:lnTo>
                      <a:lnTo>
                        <a:pt x="146" y="324"/>
                      </a:lnTo>
                      <a:lnTo>
                        <a:pt x="156" y="340"/>
                      </a:lnTo>
                      <a:lnTo>
                        <a:pt x="160" y="350"/>
                      </a:lnTo>
                      <a:lnTo>
                        <a:pt x="160" y="350"/>
                      </a:lnTo>
                      <a:lnTo>
                        <a:pt x="160" y="354"/>
                      </a:lnTo>
                      <a:lnTo>
                        <a:pt x="164" y="360"/>
                      </a:lnTo>
                      <a:lnTo>
                        <a:pt x="176" y="374"/>
                      </a:lnTo>
                      <a:lnTo>
                        <a:pt x="192" y="394"/>
                      </a:lnTo>
                      <a:lnTo>
                        <a:pt x="192" y="394"/>
                      </a:lnTo>
                      <a:lnTo>
                        <a:pt x="198" y="416"/>
                      </a:lnTo>
                      <a:lnTo>
                        <a:pt x="200" y="434"/>
                      </a:lnTo>
                      <a:lnTo>
                        <a:pt x="198" y="442"/>
                      </a:lnTo>
                      <a:lnTo>
                        <a:pt x="196" y="446"/>
                      </a:lnTo>
                      <a:lnTo>
                        <a:pt x="196" y="446"/>
                      </a:lnTo>
                      <a:lnTo>
                        <a:pt x="194" y="450"/>
                      </a:lnTo>
                      <a:lnTo>
                        <a:pt x="196" y="454"/>
                      </a:lnTo>
                      <a:lnTo>
                        <a:pt x="202" y="462"/>
                      </a:lnTo>
                      <a:lnTo>
                        <a:pt x="214" y="472"/>
                      </a:lnTo>
                      <a:lnTo>
                        <a:pt x="214" y="472"/>
                      </a:lnTo>
                      <a:lnTo>
                        <a:pt x="216" y="476"/>
                      </a:lnTo>
                      <a:lnTo>
                        <a:pt x="222" y="486"/>
                      </a:lnTo>
                      <a:lnTo>
                        <a:pt x="224" y="492"/>
                      </a:lnTo>
                      <a:lnTo>
                        <a:pt x="226" y="498"/>
                      </a:lnTo>
                      <a:lnTo>
                        <a:pt x="226" y="506"/>
                      </a:lnTo>
                      <a:lnTo>
                        <a:pt x="222" y="512"/>
                      </a:lnTo>
                      <a:lnTo>
                        <a:pt x="222" y="512"/>
                      </a:lnTo>
                      <a:lnTo>
                        <a:pt x="220" y="518"/>
                      </a:lnTo>
                      <a:lnTo>
                        <a:pt x="220" y="526"/>
                      </a:lnTo>
                      <a:lnTo>
                        <a:pt x="222" y="536"/>
                      </a:lnTo>
                      <a:lnTo>
                        <a:pt x="226" y="546"/>
                      </a:lnTo>
                      <a:lnTo>
                        <a:pt x="236" y="564"/>
                      </a:lnTo>
                      <a:lnTo>
                        <a:pt x="240" y="572"/>
                      </a:lnTo>
                      <a:lnTo>
                        <a:pt x="244" y="574"/>
                      </a:lnTo>
                      <a:lnTo>
                        <a:pt x="244" y="574"/>
                      </a:lnTo>
                      <a:lnTo>
                        <a:pt x="248" y="578"/>
                      </a:lnTo>
                      <a:lnTo>
                        <a:pt x="250" y="582"/>
                      </a:lnTo>
                      <a:lnTo>
                        <a:pt x="256" y="594"/>
                      </a:lnTo>
                      <a:lnTo>
                        <a:pt x="260" y="612"/>
                      </a:lnTo>
                      <a:lnTo>
                        <a:pt x="260" y="612"/>
                      </a:lnTo>
                      <a:lnTo>
                        <a:pt x="260" y="614"/>
                      </a:lnTo>
                      <a:lnTo>
                        <a:pt x="264" y="624"/>
                      </a:lnTo>
                      <a:lnTo>
                        <a:pt x="272" y="640"/>
                      </a:lnTo>
                      <a:lnTo>
                        <a:pt x="288" y="660"/>
                      </a:lnTo>
                      <a:lnTo>
                        <a:pt x="288" y="660"/>
                      </a:lnTo>
                      <a:lnTo>
                        <a:pt x="304" y="680"/>
                      </a:lnTo>
                      <a:lnTo>
                        <a:pt x="314" y="694"/>
                      </a:lnTo>
                      <a:lnTo>
                        <a:pt x="328" y="714"/>
                      </a:lnTo>
                      <a:lnTo>
                        <a:pt x="328" y="714"/>
                      </a:lnTo>
                      <a:lnTo>
                        <a:pt x="332" y="718"/>
                      </a:lnTo>
                      <a:lnTo>
                        <a:pt x="338" y="724"/>
                      </a:lnTo>
                      <a:lnTo>
                        <a:pt x="356" y="732"/>
                      </a:lnTo>
                      <a:lnTo>
                        <a:pt x="378" y="740"/>
                      </a:lnTo>
                      <a:lnTo>
                        <a:pt x="430" y="746"/>
                      </a:lnTo>
                      <a:lnTo>
                        <a:pt x="484" y="746"/>
                      </a:lnTo>
                      <a:lnTo>
                        <a:pt x="534" y="746"/>
                      </a:lnTo>
                      <a:lnTo>
                        <a:pt x="604" y="752"/>
                      </a:lnTo>
                      <a:lnTo>
                        <a:pt x="622" y="754"/>
                      </a:lnTo>
                      <a:lnTo>
                        <a:pt x="622" y="754"/>
                      </a:lnTo>
                      <a:lnTo>
                        <a:pt x="562" y="790"/>
                      </a:lnTo>
                      <a:lnTo>
                        <a:pt x="518" y="820"/>
                      </a:lnTo>
                      <a:lnTo>
                        <a:pt x="488" y="842"/>
                      </a:lnTo>
                      <a:lnTo>
                        <a:pt x="470" y="858"/>
                      </a:lnTo>
                      <a:lnTo>
                        <a:pt x="462" y="868"/>
                      </a:lnTo>
                      <a:lnTo>
                        <a:pt x="458" y="874"/>
                      </a:lnTo>
                      <a:lnTo>
                        <a:pt x="458" y="876"/>
                      </a:lnTo>
                      <a:lnTo>
                        <a:pt x="458" y="878"/>
                      </a:lnTo>
                      <a:lnTo>
                        <a:pt x="384" y="988"/>
                      </a:lnTo>
                      <a:lnTo>
                        <a:pt x="388" y="1004"/>
                      </a:lnTo>
                      <a:lnTo>
                        <a:pt x="384" y="1022"/>
                      </a:lnTo>
                      <a:lnTo>
                        <a:pt x="366" y="1052"/>
                      </a:lnTo>
                      <a:lnTo>
                        <a:pt x="354" y="1078"/>
                      </a:lnTo>
                      <a:lnTo>
                        <a:pt x="342" y="1124"/>
                      </a:lnTo>
                      <a:lnTo>
                        <a:pt x="342" y="1124"/>
                      </a:lnTo>
                      <a:lnTo>
                        <a:pt x="342" y="1130"/>
                      </a:lnTo>
                      <a:lnTo>
                        <a:pt x="344" y="1142"/>
                      </a:lnTo>
                      <a:lnTo>
                        <a:pt x="348" y="1148"/>
                      </a:lnTo>
                      <a:lnTo>
                        <a:pt x="350" y="1156"/>
                      </a:lnTo>
                      <a:lnTo>
                        <a:pt x="356" y="1162"/>
                      </a:lnTo>
                      <a:lnTo>
                        <a:pt x="364" y="1166"/>
                      </a:lnTo>
                      <a:lnTo>
                        <a:pt x="364" y="1166"/>
                      </a:lnTo>
                      <a:lnTo>
                        <a:pt x="372" y="1170"/>
                      </a:lnTo>
                      <a:lnTo>
                        <a:pt x="376" y="1176"/>
                      </a:lnTo>
                      <a:lnTo>
                        <a:pt x="380" y="1184"/>
                      </a:lnTo>
                      <a:lnTo>
                        <a:pt x="382" y="1192"/>
                      </a:lnTo>
                      <a:lnTo>
                        <a:pt x="380" y="1206"/>
                      </a:lnTo>
                      <a:lnTo>
                        <a:pt x="380" y="1212"/>
                      </a:lnTo>
                      <a:lnTo>
                        <a:pt x="382" y="1244"/>
                      </a:lnTo>
                      <a:lnTo>
                        <a:pt x="382" y="1244"/>
                      </a:lnTo>
                      <a:lnTo>
                        <a:pt x="384" y="1248"/>
                      </a:lnTo>
                      <a:lnTo>
                        <a:pt x="392" y="1258"/>
                      </a:lnTo>
                      <a:lnTo>
                        <a:pt x="398" y="1264"/>
                      </a:lnTo>
                      <a:lnTo>
                        <a:pt x="406" y="1268"/>
                      </a:lnTo>
                      <a:lnTo>
                        <a:pt x="416" y="1272"/>
                      </a:lnTo>
                      <a:lnTo>
                        <a:pt x="428" y="1272"/>
                      </a:lnTo>
                      <a:lnTo>
                        <a:pt x="428" y="1272"/>
                      </a:lnTo>
                      <a:lnTo>
                        <a:pt x="440" y="1274"/>
                      </a:lnTo>
                      <a:lnTo>
                        <a:pt x="448" y="1280"/>
                      </a:lnTo>
                      <a:lnTo>
                        <a:pt x="452" y="1286"/>
                      </a:lnTo>
                      <a:lnTo>
                        <a:pt x="456" y="1294"/>
                      </a:lnTo>
                      <a:lnTo>
                        <a:pt x="458" y="1310"/>
                      </a:lnTo>
                      <a:lnTo>
                        <a:pt x="458" y="1316"/>
                      </a:lnTo>
                      <a:lnTo>
                        <a:pt x="458" y="1316"/>
                      </a:lnTo>
                      <a:lnTo>
                        <a:pt x="456" y="1338"/>
                      </a:lnTo>
                      <a:lnTo>
                        <a:pt x="458" y="1354"/>
                      </a:lnTo>
                      <a:lnTo>
                        <a:pt x="458" y="1360"/>
                      </a:lnTo>
                      <a:lnTo>
                        <a:pt x="460" y="1364"/>
                      </a:lnTo>
                      <a:lnTo>
                        <a:pt x="460" y="1364"/>
                      </a:lnTo>
                      <a:lnTo>
                        <a:pt x="468" y="1374"/>
                      </a:lnTo>
                      <a:lnTo>
                        <a:pt x="474" y="1378"/>
                      </a:lnTo>
                      <a:lnTo>
                        <a:pt x="486" y="1380"/>
                      </a:lnTo>
                      <a:lnTo>
                        <a:pt x="486" y="1380"/>
                      </a:lnTo>
                      <a:lnTo>
                        <a:pt x="502" y="1380"/>
                      </a:lnTo>
                      <a:lnTo>
                        <a:pt x="514" y="1384"/>
                      </a:lnTo>
                      <a:lnTo>
                        <a:pt x="522" y="1390"/>
                      </a:lnTo>
                      <a:lnTo>
                        <a:pt x="526" y="1394"/>
                      </a:lnTo>
                      <a:lnTo>
                        <a:pt x="526" y="1396"/>
                      </a:lnTo>
                      <a:lnTo>
                        <a:pt x="526" y="1396"/>
                      </a:lnTo>
                      <a:lnTo>
                        <a:pt x="526" y="1400"/>
                      </a:lnTo>
                      <a:lnTo>
                        <a:pt x="530" y="1404"/>
                      </a:lnTo>
                      <a:lnTo>
                        <a:pt x="532" y="1408"/>
                      </a:lnTo>
                      <a:lnTo>
                        <a:pt x="534" y="1414"/>
                      </a:lnTo>
                      <a:lnTo>
                        <a:pt x="536" y="1422"/>
                      </a:lnTo>
                      <a:lnTo>
                        <a:pt x="536" y="1432"/>
                      </a:lnTo>
                      <a:lnTo>
                        <a:pt x="532" y="1446"/>
                      </a:lnTo>
                      <a:lnTo>
                        <a:pt x="524" y="1462"/>
                      </a:lnTo>
                      <a:lnTo>
                        <a:pt x="524" y="1462"/>
                      </a:lnTo>
                      <a:lnTo>
                        <a:pt x="492" y="1522"/>
                      </a:lnTo>
                      <a:lnTo>
                        <a:pt x="478" y="1540"/>
                      </a:lnTo>
                      <a:lnTo>
                        <a:pt x="472" y="1546"/>
                      </a:lnTo>
                      <a:lnTo>
                        <a:pt x="466" y="1550"/>
                      </a:lnTo>
                      <a:lnTo>
                        <a:pt x="466" y="1550"/>
                      </a:lnTo>
                      <a:lnTo>
                        <a:pt x="460" y="1554"/>
                      </a:lnTo>
                      <a:lnTo>
                        <a:pt x="454" y="1560"/>
                      </a:lnTo>
                      <a:lnTo>
                        <a:pt x="440" y="1578"/>
                      </a:lnTo>
                      <a:lnTo>
                        <a:pt x="424" y="1604"/>
                      </a:lnTo>
                      <a:lnTo>
                        <a:pt x="424" y="1604"/>
                      </a:lnTo>
                      <a:lnTo>
                        <a:pt x="420" y="1614"/>
                      </a:lnTo>
                      <a:lnTo>
                        <a:pt x="412" y="1636"/>
                      </a:lnTo>
                      <a:lnTo>
                        <a:pt x="410" y="1650"/>
                      </a:lnTo>
                      <a:lnTo>
                        <a:pt x="408" y="1666"/>
                      </a:lnTo>
                      <a:lnTo>
                        <a:pt x="410" y="1680"/>
                      </a:lnTo>
                      <a:lnTo>
                        <a:pt x="414" y="1686"/>
                      </a:lnTo>
                      <a:lnTo>
                        <a:pt x="416" y="1692"/>
                      </a:lnTo>
                      <a:lnTo>
                        <a:pt x="416" y="1692"/>
                      </a:lnTo>
                      <a:lnTo>
                        <a:pt x="426" y="1702"/>
                      </a:lnTo>
                      <a:lnTo>
                        <a:pt x="438" y="1710"/>
                      </a:lnTo>
                      <a:lnTo>
                        <a:pt x="450" y="1714"/>
                      </a:lnTo>
                      <a:lnTo>
                        <a:pt x="456" y="1714"/>
                      </a:lnTo>
                      <a:lnTo>
                        <a:pt x="464" y="1714"/>
                      </a:lnTo>
                      <a:lnTo>
                        <a:pt x="470" y="1712"/>
                      </a:lnTo>
                      <a:lnTo>
                        <a:pt x="478" y="1710"/>
                      </a:lnTo>
                      <a:lnTo>
                        <a:pt x="486" y="1704"/>
                      </a:lnTo>
                      <a:lnTo>
                        <a:pt x="492" y="1698"/>
                      </a:lnTo>
                      <a:lnTo>
                        <a:pt x="500" y="1690"/>
                      </a:lnTo>
                      <a:lnTo>
                        <a:pt x="508" y="1678"/>
                      </a:lnTo>
                      <a:lnTo>
                        <a:pt x="514" y="1666"/>
                      </a:lnTo>
                      <a:lnTo>
                        <a:pt x="522" y="1650"/>
                      </a:lnTo>
                      <a:lnTo>
                        <a:pt x="522" y="1650"/>
                      </a:lnTo>
                      <a:lnTo>
                        <a:pt x="548" y="1592"/>
                      </a:lnTo>
                      <a:lnTo>
                        <a:pt x="568" y="1554"/>
                      </a:lnTo>
                      <a:lnTo>
                        <a:pt x="582" y="1532"/>
                      </a:lnTo>
                      <a:lnTo>
                        <a:pt x="586" y="1526"/>
                      </a:lnTo>
                      <a:lnTo>
                        <a:pt x="586" y="1526"/>
                      </a:lnTo>
                      <a:lnTo>
                        <a:pt x="590" y="1522"/>
                      </a:lnTo>
                      <a:lnTo>
                        <a:pt x="594" y="1518"/>
                      </a:lnTo>
                      <a:lnTo>
                        <a:pt x="600" y="1516"/>
                      </a:lnTo>
                      <a:lnTo>
                        <a:pt x="608" y="1514"/>
                      </a:lnTo>
                      <a:lnTo>
                        <a:pt x="620" y="1514"/>
                      </a:lnTo>
                      <a:lnTo>
                        <a:pt x="632" y="1516"/>
                      </a:lnTo>
                      <a:lnTo>
                        <a:pt x="648" y="1520"/>
                      </a:lnTo>
                      <a:lnTo>
                        <a:pt x="648" y="1520"/>
                      </a:lnTo>
                      <a:lnTo>
                        <a:pt x="662" y="1528"/>
                      </a:lnTo>
                      <a:lnTo>
                        <a:pt x="668" y="1532"/>
                      </a:lnTo>
                      <a:lnTo>
                        <a:pt x="670" y="1536"/>
                      </a:lnTo>
                      <a:lnTo>
                        <a:pt x="668" y="1536"/>
                      </a:lnTo>
                      <a:lnTo>
                        <a:pt x="664" y="1538"/>
                      </a:lnTo>
                      <a:lnTo>
                        <a:pt x="670" y="1538"/>
                      </a:lnTo>
                      <a:lnTo>
                        <a:pt x="670" y="1538"/>
                      </a:lnTo>
                      <a:lnTo>
                        <a:pt x="682" y="1536"/>
                      </a:lnTo>
                      <a:lnTo>
                        <a:pt x="692" y="1532"/>
                      </a:lnTo>
                      <a:lnTo>
                        <a:pt x="700" y="1528"/>
                      </a:lnTo>
                      <a:lnTo>
                        <a:pt x="700" y="1528"/>
                      </a:lnTo>
                      <a:lnTo>
                        <a:pt x="708" y="1522"/>
                      </a:lnTo>
                      <a:lnTo>
                        <a:pt x="716" y="1518"/>
                      </a:lnTo>
                      <a:lnTo>
                        <a:pt x="724" y="1516"/>
                      </a:lnTo>
                      <a:lnTo>
                        <a:pt x="724" y="1516"/>
                      </a:lnTo>
                      <a:lnTo>
                        <a:pt x="734" y="1518"/>
                      </a:lnTo>
                      <a:lnTo>
                        <a:pt x="744" y="1522"/>
                      </a:lnTo>
                      <a:lnTo>
                        <a:pt x="754" y="1528"/>
                      </a:lnTo>
                      <a:lnTo>
                        <a:pt x="754" y="1528"/>
                      </a:lnTo>
                      <a:lnTo>
                        <a:pt x="758" y="1530"/>
                      </a:lnTo>
                      <a:lnTo>
                        <a:pt x="768" y="1532"/>
                      </a:lnTo>
                      <a:lnTo>
                        <a:pt x="774" y="1532"/>
                      </a:lnTo>
                      <a:lnTo>
                        <a:pt x="780" y="1532"/>
                      </a:lnTo>
                      <a:lnTo>
                        <a:pt x="786" y="1528"/>
                      </a:lnTo>
                      <a:lnTo>
                        <a:pt x="794" y="1520"/>
                      </a:lnTo>
                      <a:lnTo>
                        <a:pt x="794" y="1520"/>
                      </a:lnTo>
                      <a:lnTo>
                        <a:pt x="800" y="1512"/>
                      </a:lnTo>
                      <a:lnTo>
                        <a:pt x="806" y="1500"/>
                      </a:lnTo>
                      <a:lnTo>
                        <a:pt x="812" y="1478"/>
                      </a:lnTo>
                      <a:lnTo>
                        <a:pt x="816" y="1458"/>
                      </a:lnTo>
                      <a:lnTo>
                        <a:pt x="816" y="1452"/>
                      </a:lnTo>
                      <a:lnTo>
                        <a:pt x="840" y="1406"/>
                      </a:lnTo>
                      <a:lnTo>
                        <a:pt x="844" y="1388"/>
                      </a:lnTo>
                      <a:lnTo>
                        <a:pt x="870" y="1386"/>
                      </a:lnTo>
                      <a:lnTo>
                        <a:pt x="894" y="1318"/>
                      </a:lnTo>
                      <a:lnTo>
                        <a:pt x="922" y="1204"/>
                      </a:lnTo>
                      <a:lnTo>
                        <a:pt x="952" y="1056"/>
                      </a:lnTo>
                      <a:lnTo>
                        <a:pt x="970" y="942"/>
                      </a:lnTo>
                      <a:lnTo>
                        <a:pt x="970" y="942"/>
                      </a:lnTo>
                      <a:lnTo>
                        <a:pt x="974" y="940"/>
                      </a:lnTo>
                      <a:lnTo>
                        <a:pt x="978" y="928"/>
                      </a:lnTo>
                      <a:lnTo>
                        <a:pt x="984" y="908"/>
                      </a:lnTo>
                      <a:lnTo>
                        <a:pt x="986" y="894"/>
                      </a:lnTo>
                      <a:lnTo>
                        <a:pt x="988" y="880"/>
                      </a:lnTo>
                      <a:lnTo>
                        <a:pt x="988" y="880"/>
                      </a:lnTo>
                      <a:lnTo>
                        <a:pt x="990" y="866"/>
                      </a:lnTo>
                      <a:lnTo>
                        <a:pt x="994" y="858"/>
                      </a:lnTo>
                      <a:lnTo>
                        <a:pt x="1000" y="856"/>
                      </a:lnTo>
                      <a:lnTo>
                        <a:pt x="1004" y="854"/>
                      </a:lnTo>
                      <a:lnTo>
                        <a:pt x="1004" y="880"/>
                      </a:lnTo>
                      <a:lnTo>
                        <a:pt x="996" y="942"/>
                      </a:lnTo>
                      <a:lnTo>
                        <a:pt x="998" y="962"/>
                      </a:lnTo>
                      <a:lnTo>
                        <a:pt x="990" y="990"/>
                      </a:lnTo>
                      <a:lnTo>
                        <a:pt x="990" y="1034"/>
                      </a:lnTo>
                      <a:lnTo>
                        <a:pt x="990" y="1046"/>
                      </a:lnTo>
                      <a:lnTo>
                        <a:pt x="990" y="1108"/>
                      </a:lnTo>
                      <a:lnTo>
                        <a:pt x="998" y="1112"/>
                      </a:lnTo>
                      <a:lnTo>
                        <a:pt x="998" y="1122"/>
                      </a:lnTo>
                      <a:lnTo>
                        <a:pt x="990" y="1130"/>
                      </a:lnTo>
                      <a:lnTo>
                        <a:pt x="992" y="1160"/>
                      </a:lnTo>
                      <a:lnTo>
                        <a:pt x="992" y="1208"/>
                      </a:lnTo>
                      <a:lnTo>
                        <a:pt x="1010" y="1248"/>
                      </a:lnTo>
                      <a:lnTo>
                        <a:pt x="1040" y="1274"/>
                      </a:lnTo>
                      <a:lnTo>
                        <a:pt x="1044" y="1246"/>
                      </a:lnTo>
                      <a:lnTo>
                        <a:pt x="1048" y="1274"/>
                      </a:lnTo>
                      <a:lnTo>
                        <a:pt x="1078" y="1248"/>
                      </a:lnTo>
                      <a:lnTo>
                        <a:pt x="1096" y="1208"/>
                      </a:lnTo>
                      <a:lnTo>
                        <a:pt x="1096" y="1160"/>
                      </a:lnTo>
                      <a:lnTo>
                        <a:pt x="1098" y="1130"/>
                      </a:lnTo>
                      <a:lnTo>
                        <a:pt x="1088" y="1122"/>
                      </a:lnTo>
                      <a:lnTo>
                        <a:pt x="1088" y="1112"/>
                      </a:lnTo>
                      <a:lnTo>
                        <a:pt x="1098" y="1108"/>
                      </a:lnTo>
                      <a:lnTo>
                        <a:pt x="1098" y="1046"/>
                      </a:lnTo>
                      <a:lnTo>
                        <a:pt x="1098" y="1034"/>
                      </a:lnTo>
                      <a:lnTo>
                        <a:pt x="1098" y="990"/>
                      </a:lnTo>
                      <a:lnTo>
                        <a:pt x="1088" y="962"/>
                      </a:lnTo>
                      <a:lnTo>
                        <a:pt x="1090" y="942"/>
                      </a:lnTo>
                      <a:lnTo>
                        <a:pt x="1084" y="880"/>
                      </a:lnTo>
                      <a:lnTo>
                        <a:pt x="1082" y="856"/>
                      </a:lnTo>
                      <a:lnTo>
                        <a:pt x="1082" y="856"/>
                      </a:lnTo>
                      <a:lnTo>
                        <a:pt x="1088" y="854"/>
                      </a:lnTo>
                      <a:lnTo>
                        <a:pt x="1094" y="858"/>
                      </a:lnTo>
                      <a:lnTo>
                        <a:pt x="1100" y="866"/>
                      </a:lnTo>
                      <a:lnTo>
                        <a:pt x="1102" y="880"/>
                      </a:lnTo>
                      <a:lnTo>
                        <a:pt x="1102" y="880"/>
                      </a:lnTo>
                      <a:lnTo>
                        <a:pt x="1102" y="894"/>
                      </a:lnTo>
                      <a:lnTo>
                        <a:pt x="1106" y="908"/>
                      </a:lnTo>
                      <a:lnTo>
                        <a:pt x="1112" y="928"/>
                      </a:lnTo>
                      <a:lnTo>
                        <a:pt x="1116" y="940"/>
                      </a:lnTo>
                      <a:lnTo>
                        <a:pt x="1120" y="942"/>
                      </a:lnTo>
                      <a:lnTo>
                        <a:pt x="1138" y="1056"/>
                      </a:lnTo>
                      <a:lnTo>
                        <a:pt x="1168" y="1204"/>
                      </a:lnTo>
                      <a:lnTo>
                        <a:pt x="1196" y="1318"/>
                      </a:lnTo>
                      <a:lnTo>
                        <a:pt x="1220" y="1386"/>
                      </a:lnTo>
                      <a:lnTo>
                        <a:pt x="1246" y="1388"/>
                      </a:lnTo>
                      <a:lnTo>
                        <a:pt x="1250" y="1406"/>
                      </a:lnTo>
                      <a:lnTo>
                        <a:pt x="1274" y="1452"/>
                      </a:lnTo>
                      <a:lnTo>
                        <a:pt x="1274" y="1452"/>
                      </a:lnTo>
                      <a:lnTo>
                        <a:pt x="1274" y="1458"/>
                      </a:lnTo>
                      <a:lnTo>
                        <a:pt x="1278" y="1478"/>
                      </a:lnTo>
                      <a:lnTo>
                        <a:pt x="1284" y="1500"/>
                      </a:lnTo>
                      <a:lnTo>
                        <a:pt x="1290" y="1512"/>
                      </a:lnTo>
                      <a:lnTo>
                        <a:pt x="1296" y="1520"/>
                      </a:lnTo>
                      <a:lnTo>
                        <a:pt x="1296" y="1520"/>
                      </a:lnTo>
                      <a:lnTo>
                        <a:pt x="1304" y="1528"/>
                      </a:lnTo>
                      <a:lnTo>
                        <a:pt x="1310" y="1532"/>
                      </a:lnTo>
                      <a:lnTo>
                        <a:pt x="1316" y="1532"/>
                      </a:lnTo>
                      <a:lnTo>
                        <a:pt x="1322" y="1532"/>
                      </a:lnTo>
                      <a:lnTo>
                        <a:pt x="1332" y="1530"/>
                      </a:lnTo>
                      <a:lnTo>
                        <a:pt x="1334" y="1528"/>
                      </a:lnTo>
                      <a:lnTo>
                        <a:pt x="1334" y="1528"/>
                      </a:lnTo>
                      <a:lnTo>
                        <a:pt x="1346" y="1522"/>
                      </a:lnTo>
                      <a:lnTo>
                        <a:pt x="1356" y="1518"/>
                      </a:lnTo>
                      <a:lnTo>
                        <a:pt x="1366" y="1516"/>
                      </a:lnTo>
                      <a:lnTo>
                        <a:pt x="1366" y="1516"/>
                      </a:lnTo>
                      <a:lnTo>
                        <a:pt x="1374" y="1518"/>
                      </a:lnTo>
                      <a:lnTo>
                        <a:pt x="1382" y="1522"/>
                      </a:lnTo>
                      <a:lnTo>
                        <a:pt x="1390" y="1528"/>
                      </a:lnTo>
                      <a:lnTo>
                        <a:pt x="1390" y="1528"/>
                      </a:lnTo>
                      <a:lnTo>
                        <a:pt x="1398" y="1532"/>
                      </a:lnTo>
                      <a:lnTo>
                        <a:pt x="1406" y="1536"/>
                      </a:lnTo>
                      <a:lnTo>
                        <a:pt x="1420" y="1538"/>
                      </a:lnTo>
                      <a:lnTo>
                        <a:pt x="1420" y="1538"/>
                      </a:lnTo>
                      <a:lnTo>
                        <a:pt x="1426" y="1538"/>
                      </a:lnTo>
                      <a:lnTo>
                        <a:pt x="1422" y="1536"/>
                      </a:lnTo>
                      <a:lnTo>
                        <a:pt x="1420" y="1536"/>
                      </a:lnTo>
                      <a:lnTo>
                        <a:pt x="1422" y="1532"/>
                      </a:lnTo>
                      <a:lnTo>
                        <a:pt x="1428" y="1528"/>
                      </a:lnTo>
                      <a:lnTo>
                        <a:pt x="1442" y="1520"/>
                      </a:lnTo>
                      <a:lnTo>
                        <a:pt x="1442" y="1520"/>
                      </a:lnTo>
                      <a:lnTo>
                        <a:pt x="1458" y="1516"/>
                      </a:lnTo>
                      <a:lnTo>
                        <a:pt x="1470" y="1514"/>
                      </a:lnTo>
                      <a:lnTo>
                        <a:pt x="1482" y="1514"/>
                      </a:lnTo>
                      <a:lnTo>
                        <a:pt x="1490" y="1516"/>
                      </a:lnTo>
                      <a:lnTo>
                        <a:pt x="1496" y="1518"/>
                      </a:lnTo>
                      <a:lnTo>
                        <a:pt x="1500" y="1522"/>
                      </a:lnTo>
                      <a:lnTo>
                        <a:pt x="1502" y="1526"/>
                      </a:lnTo>
                      <a:lnTo>
                        <a:pt x="1502" y="1526"/>
                      </a:lnTo>
                      <a:lnTo>
                        <a:pt x="1508" y="1532"/>
                      </a:lnTo>
                      <a:lnTo>
                        <a:pt x="1522" y="1554"/>
                      </a:lnTo>
                      <a:lnTo>
                        <a:pt x="1542" y="1592"/>
                      </a:lnTo>
                      <a:lnTo>
                        <a:pt x="1568" y="1650"/>
                      </a:lnTo>
                      <a:lnTo>
                        <a:pt x="1568" y="1650"/>
                      </a:lnTo>
                      <a:lnTo>
                        <a:pt x="1576" y="1666"/>
                      </a:lnTo>
                      <a:lnTo>
                        <a:pt x="1582" y="1678"/>
                      </a:lnTo>
                      <a:lnTo>
                        <a:pt x="1590" y="1690"/>
                      </a:lnTo>
                      <a:lnTo>
                        <a:pt x="1598" y="1698"/>
                      </a:lnTo>
                      <a:lnTo>
                        <a:pt x="1604" y="1704"/>
                      </a:lnTo>
                      <a:lnTo>
                        <a:pt x="1612" y="1710"/>
                      </a:lnTo>
                      <a:lnTo>
                        <a:pt x="1620" y="1712"/>
                      </a:lnTo>
                      <a:lnTo>
                        <a:pt x="1626" y="1714"/>
                      </a:lnTo>
                      <a:lnTo>
                        <a:pt x="1634" y="1714"/>
                      </a:lnTo>
                      <a:lnTo>
                        <a:pt x="1640" y="1714"/>
                      </a:lnTo>
                      <a:lnTo>
                        <a:pt x="1652" y="1710"/>
                      </a:lnTo>
                      <a:lnTo>
                        <a:pt x="1664" y="1702"/>
                      </a:lnTo>
                      <a:lnTo>
                        <a:pt x="1672" y="1692"/>
                      </a:lnTo>
                      <a:lnTo>
                        <a:pt x="1672" y="1692"/>
                      </a:lnTo>
                      <a:lnTo>
                        <a:pt x="1676" y="1686"/>
                      </a:lnTo>
                      <a:lnTo>
                        <a:pt x="1678" y="1680"/>
                      </a:lnTo>
                      <a:lnTo>
                        <a:pt x="1682" y="1666"/>
                      </a:lnTo>
                      <a:lnTo>
                        <a:pt x="1680" y="1650"/>
                      </a:lnTo>
                      <a:lnTo>
                        <a:pt x="1678" y="1636"/>
                      </a:lnTo>
                      <a:lnTo>
                        <a:pt x="1670" y="1614"/>
                      </a:lnTo>
                      <a:lnTo>
                        <a:pt x="1666" y="1604"/>
                      </a:lnTo>
                      <a:lnTo>
                        <a:pt x="1666" y="1604"/>
                      </a:lnTo>
                      <a:lnTo>
                        <a:pt x="1650" y="1578"/>
                      </a:lnTo>
                      <a:lnTo>
                        <a:pt x="1636" y="1560"/>
                      </a:lnTo>
                      <a:lnTo>
                        <a:pt x="1630" y="1554"/>
                      </a:lnTo>
                      <a:lnTo>
                        <a:pt x="1622" y="1550"/>
                      </a:lnTo>
                      <a:lnTo>
                        <a:pt x="1622" y="1550"/>
                      </a:lnTo>
                      <a:lnTo>
                        <a:pt x="1618" y="1546"/>
                      </a:lnTo>
                      <a:lnTo>
                        <a:pt x="1612" y="1540"/>
                      </a:lnTo>
                      <a:lnTo>
                        <a:pt x="1598" y="1522"/>
                      </a:lnTo>
                      <a:lnTo>
                        <a:pt x="1566" y="1462"/>
                      </a:lnTo>
                      <a:lnTo>
                        <a:pt x="1566" y="1462"/>
                      </a:lnTo>
                      <a:lnTo>
                        <a:pt x="1558" y="1446"/>
                      </a:lnTo>
                      <a:lnTo>
                        <a:pt x="1554" y="1432"/>
                      </a:lnTo>
                      <a:lnTo>
                        <a:pt x="1554" y="1422"/>
                      </a:lnTo>
                      <a:lnTo>
                        <a:pt x="1556" y="1414"/>
                      </a:lnTo>
                      <a:lnTo>
                        <a:pt x="1558" y="1408"/>
                      </a:lnTo>
                      <a:lnTo>
                        <a:pt x="1560" y="1404"/>
                      </a:lnTo>
                      <a:lnTo>
                        <a:pt x="1562" y="1400"/>
                      </a:lnTo>
                      <a:lnTo>
                        <a:pt x="1564" y="1396"/>
                      </a:lnTo>
                      <a:lnTo>
                        <a:pt x="1564" y="1396"/>
                      </a:lnTo>
                      <a:lnTo>
                        <a:pt x="1564" y="1394"/>
                      </a:lnTo>
                      <a:lnTo>
                        <a:pt x="1566" y="1390"/>
                      </a:lnTo>
                      <a:lnTo>
                        <a:pt x="1576" y="1384"/>
                      </a:lnTo>
                      <a:lnTo>
                        <a:pt x="1588" y="1380"/>
                      </a:lnTo>
                      <a:lnTo>
                        <a:pt x="1604" y="1380"/>
                      </a:lnTo>
                      <a:lnTo>
                        <a:pt x="1604" y="1380"/>
                      </a:lnTo>
                      <a:lnTo>
                        <a:pt x="1616" y="1378"/>
                      </a:lnTo>
                      <a:lnTo>
                        <a:pt x="1622" y="1374"/>
                      </a:lnTo>
                      <a:lnTo>
                        <a:pt x="1630" y="1364"/>
                      </a:lnTo>
                      <a:lnTo>
                        <a:pt x="1630" y="1364"/>
                      </a:lnTo>
                      <a:lnTo>
                        <a:pt x="1632" y="1360"/>
                      </a:lnTo>
                      <a:lnTo>
                        <a:pt x="1632" y="1354"/>
                      </a:lnTo>
                      <a:lnTo>
                        <a:pt x="1632" y="1338"/>
                      </a:lnTo>
                      <a:lnTo>
                        <a:pt x="1632" y="1316"/>
                      </a:lnTo>
                      <a:lnTo>
                        <a:pt x="1632" y="1316"/>
                      </a:lnTo>
                      <a:lnTo>
                        <a:pt x="1632" y="1310"/>
                      </a:lnTo>
                      <a:lnTo>
                        <a:pt x="1634" y="1294"/>
                      </a:lnTo>
                      <a:lnTo>
                        <a:pt x="1638" y="1286"/>
                      </a:lnTo>
                      <a:lnTo>
                        <a:pt x="1642" y="1280"/>
                      </a:lnTo>
                      <a:lnTo>
                        <a:pt x="1650" y="1274"/>
                      </a:lnTo>
                      <a:lnTo>
                        <a:pt x="1662" y="1272"/>
                      </a:lnTo>
                      <a:lnTo>
                        <a:pt x="1662" y="1272"/>
                      </a:lnTo>
                      <a:lnTo>
                        <a:pt x="1674" y="1272"/>
                      </a:lnTo>
                      <a:lnTo>
                        <a:pt x="1684" y="1268"/>
                      </a:lnTo>
                      <a:lnTo>
                        <a:pt x="1692" y="1264"/>
                      </a:lnTo>
                      <a:lnTo>
                        <a:pt x="1698" y="1258"/>
                      </a:lnTo>
                      <a:lnTo>
                        <a:pt x="1706" y="1248"/>
                      </a:lnTo>
                      <a:lnTo>
                        <a:pt x="1708" y="1244"/>
                      </a:lnTo>
                      <a:lnTo>
                        <a:pt x="1710" y="1212"/>
                      </a:lnTo>
                      <a:lnTo>
                        <a:pt x="1710" y="1212"/>
                      </a:lnTo>
                      <a:lnTo>
                        <a:pt x="1710" y="1206"/>
                      </a:lnTo>
                      <a:lnTo>
                        <a:pt x="1708" y="1192"/>
                      </a:lnTo>
                      <a:lnTo>
                        <a:pt x="1710" y="1184"/>
                      </a:lnTo>
                      <a:lnTo>
                        <a:pt x="1712" y="1176"/>
                      </a:lnTo>
                      <a:lnTo>
                        <a:pt x="1718" y="1170"/>
                      </a:lnTo>
                      <a:lnTo>
                        <a:pt x="1726" y="1166"/>
                      </a:lnTo>
                      <a:lnTo>
                        <a:pt x="1726" y="1166"/>
                      </a:lnTo>
                      <a:lnTo>
                        <a:pt x="1734" y="1162"/>
                      </a:lnTo>
                      <a:lnTo>
                        <a:pt x="1738" y="1156"/>
                      </a:lnTo>
                      <a:lnTo>
                        <a:pt x="1742" y="1148"/>
                      </a:lnTo>
                      <a:lnTo>
                        <a:pt x="1746" y="1142"/>
                      </a:lnTo>
                      <a:lnTo>
                        <a:pt x="1748" y="1130"/>
                      </a:lnTo>
                      <a:lnTo>
                        <a:pt x="1748" y="1124"/>
                      </a:lnTo>
                      <a:lnTo>
                        <a:pt x="1736" y="1078"/>
                      </a:lnTo>
                      <a:lnTo>
                        <a:pt x="1724" y="1052"/>
                      </a:lnTo>
                      <a:lnTo>
                        <a:pt x="1706" y="1022"/>
                      </a:lnTo>
                      <a:lnTo>
                        <a:pt x="1702" y="1004"/>
                      </a:lnTo>
                      <a:lnTo>
                        <a:pt x="1706" y="988"/>
                      </a:lnTo>
                      <a:lnTo>
                        <a:pt x="1632" y="878"/>
                      </a:lnTo>
                      <a:lnTo>
                        <a:pt x="1632" y="878"/>
                      </a:lnTo>
                      <a:lnTo>
                        <a:pt x="1632" y="876"/>
                      </a:lnTo>
                      <a:lnTo>
                        <a:pt x="1632" y="874"/>
                      </a:lnTo>
                      <a:lnTo>
                        <a:pt x="1628" y="868"/>
                      </a:lnTo>
                      <a:lnTo>
                        <a:pt x="1620" y="858"/>
                      </a:lnTo>
                      <a:lnTo>
                        <a:pt x="1600" y="842"/>
                      </a:lnTo>
                      <a:lnTo>
                        <a:pt x="1572" y="820"/>
                      </a:lnTo>
                      <a:lnTo>
                        <a:pt x="1528" y="790"/>
                      </a:lnTo>
                      <a:lnTo>
                        <a:pt x="1466" y="754"/>
                      </a:lnTo>
                      <a:lnTo>
                        <a:pt x="1486" y="752"/>
                      </a:lnTo>
                      <a:lnTo>
                        <a:pt x="1556" y="746"/>
                      </a:lnTo>
                      <a:lnTo>
                        <a:pt x="1606" y="746"/>
                      </a:lnTo>
                      <a:lnTo>
                        <a:pt x="1660" y="746"/>
                      </a:lnTo>
                      <a:lnTo>
                        <a:pt x="1712" y="740"/>
                      </a:lnTo>
                      <a:lnTo>
                        <a:pt x="1712" y="740"/>
                      </a:lnTo>
                      <a:lnTo>
                        <a:pt x="1734" y="732"/>
                      </a:lnTo>
                      <a:lnTo>
                        <a:pt x="1750" y="724"/>
                      </a:lnTo>
                      <a:lnTo>
                        <a:pt x="1758" y="718"/>
                      </a:lnTo>
                      <a:lnTo>
                        <a:pt x="1762" y="714"/>
                      </a:lnTo>
                      <a:lnTo>
                        <a:pt x="1762" y="714"/>
                      </a:lnTo>
                      <a:lnTo>
                        <a:pt x="1776" y="694"/>
                      </a:lnTo>
                      <a:lnTo>
                        <a:pt x="1786" y="680"/>
                      </a:lnTo>
                      <a:lnTo>
                        <a:pt x="1802" y="660"/>
                      </a:lnTo>
                      <a:lnTo>
                        <a:pt x="1802" y="660"/>
                      </a:lnTo>
                      <a:lnTo>
                        <a:pt x="1818" y="640"/>
                      </a:lnTo>
                      <a:lnTo>
                        <a:pt x="1826" y="624"/>
                      </a:lnTo>
                      <a:lnTo>
                        <a:pt x="1830" y="614"/>
                      </a:lnTo>
                      <a:lnTo>
                        <a:pt x="1830" y="612"/>
                      </a:lnTo>
                      <a:lnTo>
                        <a:pt x="1830" y="612"/>
                      </a:lnTo>
                      <a:lnTo>
                        <a:pt x="1834" y="594"/>
                      </a:lnTo>
                      <a:lnTo>
                        <a:pt x="1840" y="582"/>
                      </a:lnTo>
                      <a:lnTo>
                        <a:pt x="1842" y="578"/>
                      </a:lnTo>
                      <a:lnTo>
                        <a:pt x="1846" y="574"/>
                      </a:lnTo>
                      <a:lnTo>
                        <a:pt x="1846" y="574"/>
                      </a:lnTo>
                      <a:lnTo>
                        <a:pt x="1850" y="572"/>
                      </a:lnTo>
                      <a:lnTo>
                        <a:pt x="1854" y="564"/>
                      </a:lnTo>
                      <a:lnTo>
                        <a:pt x="1864" y="546"/>
                      </a:lnTo>
                      <a:lnTo>
                        <a:pt x="1868" y="536"/>
                      </a:lnTo>
                      <a:lnTo>
                        <a:pt x="1870" y="526"/>
                      </a:lnTo>
                      <a:lnTo>
                        <a:pt x="1870" y="518"/>
                      </a:lnTo>
                      <a:lnTo>
                        <a:pt x="1868" y="512"/>
                      </a:lnTo>
                      <a:lnTo>
                        <a:pt x="1868" y="512"/>
                      </a:lnTo>
                      <a:lnTo>
                        <a:pt x="1864" y="506"/>
                      </a:lnTo>
                      <a:lnTo>
                        <a:pt x="1864" y="498"/>
                      </a:lnTo>
                      <a:lnTo>
                        <a:pt x="1866" y="492"/>
                      </a:lnTo>
                      <a:lnTo>
                        <a:pt x="1868" y="486"/>
                      </a:lnTo>
                      <a:lnTo>
                        <a:pt x="1872" y="476"/>
                      </a:lnTo>
                      <a:lnTo>
                        <a:pt x="1876" y="472"/>
                      </a:lnTo>
                      <a:lnTo>
                        <a:pt x="1876" y="472"/>
                      </a:lnTo>
                      <a:lnTo>
                        <a:pt x="1888" y="462"/>
                      </a:lnTo>
                      <a:lnTo>
                        <a:pt x="1894" y="454"/>
                      </a:lnTo>
                      <a:lnTo>
                        <a:pt x="1894" y="450"/>
                      </a:lnTo>
                      <a:lnTo>
                        <a:pt x="1894" y="446"/>
                      </a:lnTo>
                      <a:lnTo>
                        <a:pt x="1894" y="446"/>
                      </a:lnTo>
                      <a:lnTo>
                        <a:pt x="1890" y="442"/>
                      </a:lnTo>
                      <a:lnTo>
                        <a:pt x="1890" y="434"/>
                      </a:lnTo>
                      <a:lnTo>
                        <a:pt x="1892" y="416"/>
                      </a:lnTo>
                      <a:lnTo>
                        <a:pt x="1898" y="394"/>
                      </a:lnTo>
                      <a:lnTo>
                        <a:pt x="1898" y="394"/>
                      </a:lnTo>
                      <a:lnTo>
                        <a:pt x="1914" y="374"/>
                      </a:lnTo>
                      <a:lnTo>
                        <a:pt x="1926" y="360"/>
                      </a:lnTo>
                      <a:lnTo>
                        <a:pt x="1928" y="354"/>
                      </a:lnTo>
                      <a:lnTo>
                        <a:pt x="1930" y="350"/>
                      </a:lnTo>
                      <a:lnTo>
                        <a:pt x="1930" y="350"/>
                      </a:lnTo>
                      <a:lnTo>
                        <a:pt x="1934" y="340"/>
                      </a:lnTo>
                      <a:lnTo>
                        <a:pt x="1944" y="324"/>
                      </a:lnTo>
                      <a:lnTo>
                        <a:pt x="1956" y="310"/>
                      </a:lnTo>
                      <a:lnTo>
                        <a:pt x="1964" y="304"/>
                      </a:lnTo>
                      <a:lnTo>
                        <a:pt x="1972" y="300"/>
                      </a:lnTo>
                      <a:lnTo>
                        <a:pt x="1972" y="300"/>
                      </a:lnTo>
                      <a:lnTo>
                        <a:pt x="1978" y="296"/>
                      </a:lnTo>
                      <a:lnTo>
                        <a:pt x="1986" y="290"/>
                      </a:lnTo>
                      <a:lnTo>
                        <a:pt x="1996" y="278"/>
                      </a:lnTo>
                      <a:lnTo>
                        <a:pt x="2004" y="264"/>
                      </a:lnTo>
                      <a:lnTo>
                        <a:pt x="2004" y="264"/>
                      </a:lnTo>
                      <a:lnTo>
                        <a:pt x="2010" y="252"/>
                      </a:lnTo>
                      <a:lnTo>
                        <a:pt x="2016" y="240"/>
                      </a:lnTo>
                      <a:lnTo>
                        <a:pt x="2020" y="236"/>
                      </a:lnTo>
                      <a:lnTo>
                        <a:pt x="2024" y="234"/>
                      </a:lnTo>
                      <a:lnTo>
                        <a:pt x="2024" y="234"/>
                      </a:lnTo>
                      <a:lnTo>
                        <a:pt x="2030" y="232"/>
                      </a:lnTo>
                      <a:lnTo>
                        <a:pt x="2034" y="226"/>
                      </a:lnTo>
                      <a:lnTo>
                        <a:pt x="2046" y="214"/>
                      </a:lnTo>
                      <a:lnTo>
                        <a:pt x="2056" y="198"/>
                      </a:lnTo>
                      <a:lnTo>
                        <a:pt x="2078" y="154"/>
                      </a:lnTo>
                      <a:lnTo>
                        <a:pt x="2090" y="112"/>
                      </a:lnTo>
                      <a:lnTo>
                        <a:pt x="2088" y="78"/>
                      </a:lnTo>
                      <a:close/>
                      <a:moveTo>
                        <a:pt x="1040" y="574"/>
                      </a:move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>
                  <a:glow rad="177800">
                    <a:schemeClr val="bg2">
                      <a:lumMod val="60000"/>
                      <a:lumOff val="40000"/>
                      <a:alpha val="11000"/>
                    </a:schemeClr>
                  </a:glow>
                  <a:softEdge rad="254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26" name="Group 147"/>
              <p:cNvGrpSpPr>
                <a:grpSpLocks noChangeAspect="1"/>
              </p:cNvGrpSpPr>
              <p:nvPr/>
            </p:nvGrpSpPr>
            <p:grpSpPr>
              <a:xfrm rot="19711069">
                <a:off x="391817" y="4560622"/>
                <a:ext cx="1094993" cy="933829"/>
                <a:chOff x="5181600" y="457200"/>
                <a:chExt cx="3235325" cy="2759075"/>
              </a:xfrm>
              <a:solidFill>
                <a:schemeClr val="bg2">
                  <a:lumMod val="60000"/>
                  <a:lumOff val="40000"/>
                  <a:alpha val="1000"/>
                </a:schemeClr>
              </a:solidFill>
            </p:grpSpPr>
            <p:sp>
              <p:nvSpPr>
                <p:cNvPr id="242" name="Freeform 86"/>
                <p:cNvSpPr>
                  <a:spLocks/>
                </p:cNvSpPr>
                <p:nvPr/>
              </p:nvSpPr>
              <p:spPr bwMode="auto">
                <a:xfrm>
                  <a:off x="6400801" y="787399"/>
                  <a:ext cx="390524" cy="581026"/>
                </a:xfrm>
                <a:custGeom>
                  <a:avLst/>
                  <a:gdLst/>
                  <a:ahLst/>
                  <a:cxnLst>
                    <a:cxn ang="0">
                      <a:pos x="242" y="366"/>
                    </a:cxn>
                    <a:cxn ang="0">
                      <a:pos x="242" y="366"/>
                    </a:cxn>
                    <a:cxn ang="0">
                      <a:pos x="244" y="364"/>
                    </a:cxn>
                    <a:cxn ang="0">
                      <a:pos x="246" y="364"/>
                    </a:cxn>
                    <a:cxn ang="0">
                      <a:pos x="246" y="364"/>
                    </a:cxn>
                    <a:cxn ang="0">
                      <a:pos x="236" y="348"/>
                    </a:cxn>
                    <a:cxn ang="0">
                      <a:pos x="50" y="54"/>
                    </a:cxn>
                    <a:cxn ang="0">
                      <a:pos x="50" y="54"/>
                    </a:cxn>
                    <a:cxn ang="0">
                      <a:pos x="32" y="28"/>
                    </a:cxn>
                    <a:cxn ang="0">
                      <a:pos x="32" y="26"/>
                    </a:cxn>
                    <a:cxn ang="0">
                      <a:pos x="32" y="26"/>
                    </a:cxn>
                    <a:cxn ang="0">
                      <a:pos x="22" y="14"/>
                    </a:cxn>
                    <a:cxn ang="0">
                      <a:pos x="10" y="4"/>
                    </a:cxn>
                    <a:cxn ang="0">
                      <a:pos x="10" y="4"/>
                    </a:cxn>
                    <a:cxn ang="0">
                      <a:pos x="6" y="2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6"/>
                    </a:cxn>
                    <a:cxn ang="0">
                      <a:pos x="0" y="6"/>
                    </a:cxn>
                    <a:cxn ang="0">
                      <a:pos x="4" y="16"/>
                    </a:cxn>
                    <a:cxn ang="0">
                      <a:pos x="10" y="24"/>
                    </a:cxn>
                    <a:cxn ang="0">
                      <a:pos x="10" y="24"/>
                    </a:cxn>
                    <a:cxn ang="0">
                      <a:pos x="20" y="34"/>
                    </a:cxn>
                    <a:cxn ang="0">
                      <a:pos x="28" y="44"/>
                    </a:cxn>
                    <a:cxn ang="0">
                      <a:pos x="232" y="352"/>
                    </a:cxn>
                    <a:cxn ang="0">
                      <a:pos x="232" y="352"/>
                    </a:cxn>
                    <a:cxn ang="0">
                      <a:pos x="238" y="362"/>
                    </a:cxn>
                    <a:cxn ang="0">
                      <a:pos x="242" y="366"/>
                    </a:cxn>
                    <a:cxn ang="0">
                      <a:pos x="242" y="366"/>
                    </a:cxn>
                  </a:cxnLst>
                  <a:rect l="0" t="0" r="r" b="b"/>
                  <a:pathLst>
                    <a:path w="246" h="366">
                      <a:moveTo>
                        <a:pt x="242" y="366"/>
                      </a:moveTo>
                      <a:lnTo>
                        <a:pt x="242" y="366"/>
                      </a:lnTo>
                      <a:lnTo>
                        <a:pt x="244" y="364"/>
                      </a:lnTo>
                      <a:lnTo>
                        <a:pt x="246" y="364"/>
                      </a:lnTo>
                      <a:lnTo>
                        <a:pt x="246" y="364"/>
                      </a:lnTo>
                      <a:lnTo>
                        <a:pt x="236" y="348"/>
                      </a:lnTo>
                      <a:lnTo>
                        <a:pt x="50" y="54"/>
                      </a:lnTo>
                      <a:lnTo>
                        <a:pt x="50" y="54"/>
                      </a:lnTo>
                      <a:lnTo>
                        <a:pt x="32" y="28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22" y="1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16"/>
                      </a:lnTo>
                      <a:lnTo>
                        <a:pt x="10" y="24"/>
                      </a:lnTo>
                      <a:lnTo>
                        <a:pt x="10" y="24"/>
                      </a:lnTo>
                      <a:lnTo>
                        <a:pt x="20" y="34"/>
                      </a:lnTo>
                      <a:lnTo>
                        <a:pt x="28" y="44"/>
                      </a:lnTo>
                      <a:lnTo>
                        <a:pt x="232" y="352"/>
                      </a:lnTo>
                      <a:lnTo>
                        <a:pt x="232" y="352"/>
                      </a:lnTo>
                      <a:lnTo>
                        <a:pt x="238" y="362"/>
                      </a:lnTo>
                      <a:lnTo>
                        <a:pt x="242" y="366"/>
                      </a:lnTo>
                      <a:lnTo>
                        <a:pt x="242" y="3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3" name="Freeform 87"/>
                <p:cNvSpPr>
                  <a:spLocks/>
                </p:cNvSpPr>
                <p:nvPr/>
              </p:nvSpPr>
              <p:spPr bwMode="auto">
                <a:xfrm>
                  <a:off x="6791325" y="1381124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4" name="Freeform 88"/>
                <p:cNvSpPr>
                  <a:spLocks/>
                </p:cNvSpPr>
                <p:nvPr/>
              </p:nvSpPr>
              <p:spPr bwMode="auto">
                <a:xfrm>
                  <a:off x="6819900" y="787399"/>
                  <a:ext cx="387350" cy="581026"/>
                </a:xfrm>
                <a:custGeom>
                  <a:avLst/>
                  <a:gdLst/>
                  <a:ahLst/>
                  <a:cxnLst>
                    <a:cxn ang="0">
                      <a:pos x="2" y="366"/>
                    </a:cxn>
                    <a:cxn ang="0">
                      <a:pos x="2" y="366"/>
                    </a:cxn>
                    <a:cxn ang="0">
                      <a:pos x="6" y="362"/>
                    </a:cxn>
                    <a:cxn ang="0">
                      <a:pos x="14" y="352"/>
                    </a:cxn>
                    <a:cxn ang="0">
                      <a:pos x="216" y="44"/>
                    </a:cxn>
                    <a:cxn ang="0">
                      <a:pos x="216" y="44"/>
                    </a:cxn>
                    <a:cxn ang="0">
                      <a:pos x="226" y="34"/>
                    </a:cxn>
                    <a:cxn ang="0">
                      <a:pos x="234" y="24"/>
                    </a:cxn>
                    <a:cxn ang="0">
                      <a:pos x="234" y="24"/>
                    </a:cxn>
                    <a:cxn ang="0">
                      <a:pos x="240" y="16"/>
                    </a:cxn>
                    <a:cxn ang="0">
                      <a:pos x="244" y="6"/>
                    </a:cxn>
                    <a:cxn ang="0">
                      <a:pos x="244" y="6"/>
                    </a:cxn>
                    <a:cxn ang="0">
                      <a:pos x="244" y="2"/>
                    </a:cxn>
                    <a:cxn ang="0">
                      <a:pos x="242" y="0"/>
                    </a:cxn>
                    <a:cxn ang="0">
                      <a:pos x="238" y="2"/>
                    </a:cxn>
                    <a:cxn ang="0">
                      <a:pos x="234" y="4"/>
                    </a:cxn>
                    <a:cxn ang="0">
                      <a:pos x="234" y="4"/>
                    </a:cxn>
                    <a:cxn ang="0">
                      <a:pos x="222" y="14"/>
                    </a:cxn>
                    <a:cxn ang="0">
                      <a:pos x="212" y="26"/>
                    </a:cxn>
                    <a:cxn ang="0">
                      <a:pos x="212" y="28"/>
                    </a:cxn>
                    <a:cxn ang="0">
                      <a:pos x="212" y="28"/>
                    </a:cxn>
                    <a:cxn ang="0">
                      <a:pos x="194" y="54"/>
                    </a:cxn>
                    <a:cxn ang="0">
                      <a:pos x="8" y="348"/>
                    </a:cxn>
                    <a:cxn ang="0">
                      <a:pos x="8" y="348"/>
                    </a:cxn>
                    <a:cxn ang="0">
                      <a:pos x="0" y="364"/>
                    </a:cxn>
                    <a:cxn ang="0">
                      <a:pos x="0" y="364"/>
                    </a:cxn>
                    <a:cxn ang="0">
                      <a:pos x="0" y="366"/>
                    </a:cxn>
                    <a:cxn ang="0">
                      <a:pos x="0" y="366"/>
                    </a:cxn>
                    <a:cxn ang="0">
                      <a:pos x="2" y="366"/>
                    </a:cxn>
                    <a:cxn ang="0">
                      <a:pos x="2" y="366"/>
                    </a:cxn>
                  </a:cxnLst>
                  <a:rect l="0" t="0" r="r" b="b"/>
                  <a:pathLst>
                    <a:path w="244" h="366">
                      <a:moveTo>
                        <a:pt x="2" y="366"/>
                      </a:moveTo>
                      <a:lnTo>
                        <a:pt x="2" y="366"/>
                      </a:lnTo>
                      <a:lnTo>
                        <a:pt x="6" y="362"/>
                      </a:lnTo>
                      <a:lnTo>
                        <a:pt x="14" y="352"/>
                      </a:lnTo>
                      <a:lnTo>
                        <a:pt x="216" y="44"/>
                      </a:lnTo>
                      <a:lnTo>
                        <a:pt x="216" y="44"/>
                      </a:lnTo>
                      <a:lnTo>
                        <a:pt x="226" y="34"/>
                      </a:lnTo>
                      <a:lnTo>
                        <a:pt x="234" y="24"/>
                      </a:lnTo>
                      <a:lnTo>
                        <a:pt x="234" y="24"/>
                      </a:lnTo>
                      <a:lnTo>
                        <a:pt x="240" y="16"/>
                      </a:lnTo>
                      <a:lnTo>
                        <a:pt x="244" y="6"/>
                      </a:lnTo>
                      <a:lnTo>
                        <a:pt x="244" y="6"/>
                      </a:lnTo>
                      <a:lnTo>
                        <a:pt x="244" y="2"/>
                      </a:lnTo>
                      <a:lnTo>
                        <a:pt x="242" y="0"/>
                      </a:lnTo>
                      <a:lnTo>
                        <a:pt x="238" y="2"/>
                      </a:lnTo>
                      <a:lnTo>
                        <a:pt x="234" y="4"/>
                      </a:lnTo>
                      <a:lnTo>
                        <a:pt x="234" y="4"/>
                      </a:lnTo>
                      <a:lnTo>
                        <a:pt x="222" y="14"/>
                      </a:lnTo>
                      <a:lnTo>
                        <a:pt x="212" y="26"/>
                      </a:lnTo>
                      <a:lnTo>
                        <a:pt x="212" y="28"/>
                      </a:lnTo>
                      <a:lnTo>
                        <a:pt x="212" y="28"/>
                      </a:lnTo>
                      <a:lnTo>
                        <a:pt x="194" y="54"/>
                      </a:lnTo>
                      <a:lnTo>
                        <a:pt x="8" y="348"/>
                      </a:lnTo>
                      <a:lnTo>
                        <a:pt x="8" y="348"/>
                      </a:lnTo>
                      <a:lnTo>
                        <a:pt x="0" y="364"/>
                      </a:lnTo>
                      <a:lnTo>
                        <a:pt x="0" y="364"/>
                      </a:lnTo>
                      <a:lnTo>
                        <a:pt x="0" y="366"/>
                      </a:lnTo>
                      <a:lnTo>
                        <a:pt x="0" y="366"/>
                      </a:lnTo>
                      <a:lnTo>
                        <a:pt x="2" y="366"/>
                      </a:lnTo>
                      <a:lnTo>
                        <a:pt x="2" y="3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5" name="Freeform 89"/>
                <p:cNvSpPr>
                  <a:spLocks noEditPoints="1"/>
                </p:cNvSpPr>
                <p:nvPr/>
              </p:nvSpPr>
              <p:spPr bwMode="auto">
                <a:xfrm>
                  <a:off x="5181600" y="457200"/>
                  <a:ext cx="3235325" cy="2759075"/>
                </a:xfrm>
                <a:custGeom>
                  <a:avLst/>
                  <a:gdLst/>
                  <a:ahLst/>
                  <a:cxnLst>
                    <a:cxn ang="0">
                      <a:pos x="1778" y="8"/>
                    </a:cxn>
                    <a:cxn ang="0">
                      <a:pos x="1424" y="184"/>
                    </a:cxn>
                    <a:cxn ang="0">
                      <a:pos x="1152" y="514"/>
                    </a:cxn>
                    <a:cxn ang="0">
                      <a:pos x="1064" y="610"/>
                    </a:cxn>
                    <a:cxn ang="0">
                      <a:pos x="1042" y="574"/>
                    </a:cxn>
                    <a:cxn ang="0">
                      <a:pos x="1014" y="574"/>
                    </a:cxn>
                    <a:cxn ang="0">
                      <a:pos x="982" y="586"/>
                    </a:cxn>
                    <a:cxn ang="0">
                      <a:pos x="964" y="644"/>
                    </a:cxn>
                    <a:cxn ang="0">
                      <a:pos x="774" y="350"/>
                    </a:cxn>
                    <a:cxn ang="0">
                      <a:pos x="432" y="66"/>
                    </a:cxn>
                    <a:cxn ang="0">
                      <a:pos x="60" y="14"/>
                    </a:cxn>
                    <a:cxn ang="0">
                      <a:pos x="58" y="236"/>
                    </a:cxn>
                    <a:cxn ang="0">
                      <a:pos x="100" y="298"/>
                    </a:cxn>
                    <a:cxn ang="0">
                      <a:pos x="154" y="358"/>
                    </a:cxn>
                    <a:cxn ang="0">
                      <a:pos x="190" y="458"/>
                    </a:cxn>
                    <a:cxn ang="0">
                      <a:pos x="216" y="506"/>
                    </a:cxn>
                    <a:cxn ang="0">
                      <a:pos x="228" y="580"/>
                    </a:cxn>
                    <a:cxn ang="0">
                      <a:pos x="252" y="632"/>
                    </a:cxn>
                    <a:cxn ang="0">
                      <a:pos x="320" y="740"/>
                    </a:cxn>
                    <a:cxn ang="0">
                      <a:pos x="628" y="780"/>
                    </a:cxn>
                    <a:cxn ang="0">
                      <a:pos x="422" y="938"/>
                    </a:cxn>
                    <a:cxn ang="0">
                      <a:pos x="446" y="1044"/>
                    </a:cxn>
                    <a:cxn ang="0">
                      <a:pos x="548" y="1174"/>
                    </a:cxn>
                    <a:cxn ang="0">
                      <a:pos x="588" y="1256"/>
                    </a:cxn>
                    <a:cxn ang="0">
                      <a:pos x="646" y="1306"/>
                    </a:cxn>
                    <a:cxn ang="0">
                      <a:pos x="650" y="1464"/>
                    </a:cxn>
                    <a:cxn ang="0">
                      <a:pos x="562" y="1580"/>
                    </a:cxn>
                    <a:cxn ang="0">
                      <a:pos x="516" y="1698"/>
                    </a:cxn>
                    <a:cxn ang="0">
                      <a:pos x="554" y="1734"/>
                    </a:cxn>
                    <a:cxn ang="0">
                      <a:pos x="670" y="1586"/>
                    </a:cxn>
                    <a:cxn ang="0">
                      <a:pos x="770" y="1476"/>
                    </a:cxn>
                    <a:cxn ang="0">
                      <a:pos x="890" y="1070"/>
                    </a:cxn>
                    <a:cxn ang="0">
                      <a:pos x="938" y="954"/>
                    </a:cxn>
                    <a:cxn ang="0">
                      <a:pos x="962" y="1146"/>
                    </a:cxn>
                    <a:cxn ang="0">
                      <a:pos x="1022" y="1320"/>
                    </a:cxn>
                    <a:cxn ang="0">
                      <a:pos x="1076" y="1068"/>
                    </a:cxn>
                    <a:cxn ang="0">
                      <a:pos x="1106" y="958"/>
                    </a:cxn>
                    <a:cxn ang="0">
                      <a:pos x="1160" y="1136"/>
                    </a:cxn>
                    <a:cxn ang="0">
                      <a:pos x="1268" y="1476"/>
                    </a:cxn>
                    <a:cxn ang="0">
                      <a:pos x="1366" y="1586"/>
                    </a:cxn>
                    <a:cxn ang="0">
                      <a:pos x="1494" y="1738"/>
                    </a:cxn>
                    <a:cxn ang="0">
                      <a:pos x="1520" y="1676"/>
                    </a:cxn>
                    <a:cxn ang="0">
                      <a:pos x="1456" y="1558"/>
                    </a:cxn>
                    <a:cxn ang="0">
                      <a:pos x="1382" y="1442"/>
                    </a:cxn>
                    <a:cxn ang="0">
                      <a:pos x="1396" y="1300"/>
                    </a:cxn>
                    <a:cxn ang="0">
                      <a:pos x="1460" y="1236"/>
                    </a:cxn>
                    <a:cxn ang="0">
                      <a:pos x="1508" y="1166"/>
                    </a:cxn>
                    <a:cxn ang="0">
                      <a:pos x="1600" y="1020"/>
                    </a:cxn>
                    <a:cxn ang="0">
                      <a:pos x="1596" y="918"/>
                    </a:cxn>
                    <a:cxn ang="0">
                      <a:pos x="1454" y="772"/>
                    </a:cxn>
                    <a:cxn ang="0">
                      <a:pos x="1722" y="734"/>
                    </a:cxn>
                    <a:cxn ang="0">
                      <a:pos x="1788" y="628"/>
                    </a:cxn>
                    <a:cxn ang="0">
                      <a:pos x="1820" y="562"/>
                    </a:cxn>
                    <a:cxn ang="0">
                      <a:pos x="1824" y="498"/>
                    </a:cxn>
                    <a:cxn ang="0">
                      <a:pos x="1846" y="452"/>
                    </a:cxn>
                    <a:cxn ang="0">
                      <a:pos x="1884" y="358"/>
                    </a:cxn>
                    <a:cxn ang="0">
                      <a:pos x="1946" y="286"/>
                    </a:cxn>
                    <a:cxn ang="0">
                      <a:pos x="1984" y="232"/>
                    </a:cxn>
                    <a:cxn ang="0">
                      <a:pos x="1014" y="582"/>
                    </a:cxn>
                  </a:cxnLst>
                  <a:rect l="0" t="0" r="r" b="b"/>
                  <a:pathLst>
                    <a:path w="2038" h="1738">
                      <a:moveTo>
                        <a:pt x="2036" y="78"/>
                      </a:moveTo>
                      <a:lnTo>
                        <a:pt x="2018" y="44"/>
                      </a:lnTo>
                      <a:lnTo>
                        <a:pt x="1978" y="14"/>
                      </a:lnTo>
                      <a:lnTo>
                        <a:pt x="1916" y="2"/>
                      </a:lnTo>
                      <a:lnTo>
                        <a:pt x="1850" y="0"/>
                      </a:lnTo>
                      <a:lnTo>
                        <a:pt x="1850" y="0"/>
                      </a:lnTo>
                      <a:lnTo>
                        <a:pt x="1832" y="0"/>
                      </a:lnTo>
                      <a:lnTo>
                        <a:pt x="1808" y="4"/>
                      </a:lnTo>
                      <a:lnTo>
                        <a:pt x="1778" y="8"/>
                      </a:lnTo>
                      <a:lnTo>
                        <a:pt x="1742" y="16"/>
                      </a:lnTo>
                      <a:lnTo>
                        <a:pt x="1702" y="28"/>
                      </a:lnTo>
                      <a:lnTo>
                        <a:pt x="1656" y="46"/>
                      </a:lnTo>
                      <a:lnTo>
                        <a:pt x="1606" y="66"/>
                      </a:lnTo>
                      <a:lnTo>
                        <a:pt x="1606" y="66"/>
                      </a:lnTo>
                      <a:lnTo>
                        <a:pt x="1558" y="92"/>
                      </a:lnTo>
                      <a:lnTo>
                        <a:pt x="1510" y="120"/>
                      </a:lnTo>
                      <a:lnTo>
                        <a:pt x="1466" y="152"/>
                      </a:lnTo>
                      <a:lnTo>
                        <a:pt x="1424" y="184"/>
                      </a:lnTo>
                      <a:lnTo>
                        <a:pt x="1382" y="222"/>
                      </a:lnTo>
                      <a:lnTo>
                        <a:pt x="1342" y="260"/>
                      </a:lnTo>
                      <a:lnTo>
                        <a:pt x="1302" y="304"/>
                      </a:lnTo>
                      <a:lnTo>
                        <a:pt x="1264" y="350"/>
                      </a:lnTo>
                      <a:lnTo>
                        <a:pt x="1264" y="350"/>
                      </a:lnTo>
                      <a:lnTo>
                        <a:pt x="1234" y="388"/>
                      </a:lnTo>
                      <a:lnTo>
                        <a:pt x="1204" y="430"/>
                      </a:lnTo>
                      <a:lnTo>
                        <a:pt x="1176" y="472"/>
                      </a:lnTo>
                      <a:lnTo>
                        <a:pt x="1152" y="514"/>
                      </a:lnTo>
                      <a:lnTo>
                        <a:pt x="1110" y="590"/>
                      </a:lnTo>
                      <a:lnTo>
                        <a:pt x="1080" y="646"/>
                      </a:lnTo>
                      <a:lnTo>
                        <a:pt x="1080" y="646"/>
                      </a:lnTo>
                      <a:lnTo>
                        <a:pt x="1074" y="644"/>
                      </a:lnTo>
                      <a:lnTo>
                        <a:pt x="1074" y="644"/>
                      </a:lnTo>
                      <a:lnTo>
                        <a:pt x="1068" y="632"/>
                      </a:lnTo>
                      <a:lnTo>
                        <a:pt x="1060" y="618"/>
                      </a:lnTo>
                      <a:lnTo>
                        <a:pt x="1060" y="618"/>
                      </a:lnTo>
                      <a:lnTo>
                        <a:pt x="1064" y="610"/>
                      </a:lnTo>
                      <a:lnTo>
                        <a:pt x="1066" y="602"/>
                      </a:lnTo>
                      <a:lnTo>
                        <a:pt x="1066" y="602"/>
                      </a:lnTo>
                      <a:lnTo>
                        <a:pt x="1064" y="592"/>
                      </a:lnTo>
                      <a:lnTo>
                        <a:pt x="1060" y="586"/>
                      </a:lnTo>
                      <a:lnTo>
                        <a:pt x="1052" y="580"/>
                      </a:lnTo>
                      <a:lnTo>
                        <a:pt x="1042" y="578"/>
                      </a:lnTo>
                      <a:lnTo>
                        <a:pt x="1042" y="578"/>
                      </a:lnTo>
                      <a:lnTo>
                        <a:pt x="1040" y="580"/>
                      </a:lnTo>
                      <a:lnTo>
                        <a:pt x="1042" y="574"/>
                      </a:lnTo>
                      <a:lnTo>
                        <a:pt x="1036" y="574"/>
                      </a:lnTo>
                      <a:lnTo>
                        <a:pt x="1032" y="574"/>
                      </a:lnTo>
                      <a:lnTo>
                        <a:pt x="1032" y="574"/>
                      </a:lnTo>
                      <a:lnTo>
                        <a:pt x="1024" y="568"/>
                      </a:lnTo>
                      <a:lnTo>
                        <a:pt x="1024" y="568"/>
                      </a:lnTo>
                      <a:lnTo>
                        <a:pt x="1022" y="568"/>
                      </a:lnTo>
                      <a:lnTo>
                        <a:pt x="1018" y="570"/>
                      </a:lnTo>
                      <a:lnTo>
                        <a:pt x="1012" y="570"/>
                      </a:lnTo>
                      <a:lnTo>
                        <a:pt x="1014" y="574"/>
                      </a:lnTo>
                      <a:lnTo>
                        <a:pt x="1008" y="574"/>
                      </a:lnTo>
                      <a:lnTo>
                        <a:pt x="1004" y="574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0" y="578"/>
                      </a:lnTo>
                      <a:lnTo>
                        <a:pt x="1000" y="578"/>
                      </a:lnTo>
                      <a:lnTo>
                        <a:pt x="990" y="580"/>
                      </a:lnTo>
                      <a:lnTo>
                        <a:pt x="982" y="586"/>
                      </a:lnTo>
                      <a:lnTo>
                        <a:pt x="978" y="592"/>
                      </a:lnTo>
                      <a:lnTo>
                        <a:pt x="976" y="602"/>
                      </a:lnTo>
                      <a:lnTo>
                        <a:pt x="976" y="602"/>
                      </a:lnTo>
                      <a:lnTo>
                        <a:pt x="978" y="608"/>
                      </a:lnTo>
                      <a:lnTo>
                        <a:pt x="980" y="616"/>
                      </a:lnTo>
                      <a:lnTo>
                        <a:pt x="980" y="616"/>
                      </a:lnTo>
                      <a:lnTo>
                        <a:pt x="970" y="632"/>
                      </a:lnTo>
                      <a:lnTo>
                        <a:pt x="964" y="644"/>
                      </a:lnTo>
                      <a:lnTo>
                        <a:pt x="964" y="644"/>
                      </a:lnTo>
                      <a:lnTo>
                        <a:pt x="958" y="646"/>
                      </a:lnTo>
                      <a:lnTo>
                        <a:pt x="958" y="646"/>
                      </a:lnTo>
                      <a:lnTo>
                        <a:pt x="928" y="590"/>
                      </a:lnTo>
                      <a:lnTo>
                        <a:pt x="886" y="514"/>
                      </a:lnTo>
                      <a:lnTo>
                        <a:pt x="860" y="472"/>
                      </a:lnTo>
                      <a:lnTo>
                        <a:pt x="834" y="430"/>
                      </a:lnTo>
                      <a:lnTo>
                        <a:pt x="804" y="388"/>
                      </a:lnTo>
                      <a:lnTo>
                        <a:pt x="774" y="350"/>
                      </a:lnTo>
                      <a:lnTo>
                        <a:pt x="774" y="350"/>
                      </a:lnTo>
                      <a:lnTo>
                        <a:pt x="736" y="304"/>
                      </a:lnTo>
                      <a:lnTo>
                        <a:pt x="696" y="260"/>
                      </a:lnTo>
                      <a:lnTo>
                        <a:pt x="656" y="222"/>
                      </a:lnTo>
                      <a:lnTo>
                        <a:pt x="614" y="184"/>
                      </a:lnTo>
                      <a:lnTo>
                        <a:pt x="572" y="152"/>
                      </a:lnTo>
                      <a:lnTo>
                        <a:pt x="528" y="120"/>
                      </a:lnTo>
                      <a:lnTo>
                        <a:pt x="480" y="92"/>
                      </a:lnTo>
                      <a:lnTo>
                        <a:pt x="432" y="66"/>
                      </a:lnTo>
                      <a:lnTo>
                        <a:pt x="432" y="66"/>
                      </a:lnTo>
                      <a:lnTo>
                        <a:pt x="382" y="46"/>
                      </a:lnTo>
                      <a:lnTo>
                        <a:pt x="336" y="28"/>
                      </a:lnTo>
                      <a:lnTo>
                        <a:pt x="296" y="16"/>
                      </a:lnTo>
                      <a:lnTo>
                        <a:pt x="260" y="8"/>
                      </a:lnTo>
                      <a:lnTo>
                        <a:pt x="230" y="4"/>
                      </a:lnTo>
                      <a:lnTo>
                        <a:pt x="206" y="0"/>
                      </a:lnTo>
                      <a:lnTo>
                        <a:pt x="188" y="0"/>
                      </a:lnTo>
                      <a:lnTo>
                        <a:pt x="122" y="2"/>
                      </a:lnTo>
                      <a:lnTo>
                        <a:pt x="60" y="14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4"/>
                      </a:lnTo>
                      <a:lnTo>
                        <a:pt x="10" y="156"/>
                      </a:lnTo>
                      <a:lnTo>
                        <a:pt x="32" y="202"/>
                      </a:lnTo>
                      <a:lnTo>
                        <a:pt x="32" y="202"/>
                      </a:lnTo>
                      <a:lnTo>
                        <a:pt x="42" y="218"/>
                      </a:lnTo>
                      <a:lnTo>
                        <a:pt x="54" y="232"/>
                      </a:lnTo>
                      <a:lnTo>
                        <a:pt x="58" y="236"/>
                      </a:lnTo>
                      <a:lnTo>
                        <a:pt x="64" y="240"/>
                      </a:lnTo>
                      <a:lnTo>
                        <a:pt x="64" y="240"/>
                      </a:lnTo>
                      <a:lnTo>
                        <a:pt x="68" y="242"/>
                      </a:lnTo>
                      <a:lnTo>
                        <a:pt x="72" y="246"/>
                      </a:lnTo>
                      <a:lnTo>
                        <a:pt x="78" y="258"/>
                      </a:lnTo>
                      <a:lnTo>
                        <a:pt x="82" y="272"/>
                      </a:lnTo>
                      <a:lnTo>
                        <a:pt x="82" y="272"/>
                      </a:lnTo>
                      <a:lnTo>
                        <a:pt x="90" y="286"/>
                      </a:lnTo>
                      <a:lnTo>
                        <a:pt x="100" y="298"/>
                      </a:lnTo>
                      <a:lnTo>
                        <a:pt x="108" y="302"/>
                      </a:lnTo>
                      <a:lnTo>
                        <a:pt x="114" y="308"/>
                      </a:lnTo>
                      <a:lnTo>
                        <a:pt x="114" y="308"/>
                      </a:lnTo>
                      <a:lnTo>
                        <a:pt x="122" y="312"/>
                      </a:lnTo>
                      <a:lnTo>
                        <a:pt x="128" y="318"/>
                      </a:lnTo>
                      <a:lnTo>
                        <a:pt x="140" y="332"/>
                      </a:lnTo>
                      <a:lnTo>
                        <a:pt x="150" y="348"/>
                      </a:lnTo>
                      <a:lnTo>
                        <a:pt x="154" y="358"/>
                      </a:lnTo>
                      <a:lnTo>
                        <a:pt x="154" y="358"/>
                      </a:lnTo>
                      <a:lnTo>
                        <a:pt x="156" y="364"/>
                      </a:lnTo>
                      <a:lnTo>
                        <a:pt x="158" y="370"/>
                      </a:lnTo>
                      <a:lnTo>
                        <a:pt x="170" y="384"/>
                      </a:lnTo>
                      <a:lnTo>
                        <a:pt x="186" y="404"/>
                      </a:lnTo>
                      <a:lnTo>
                        <a:pt x="186" y="404"/>
                      </a:lnTo>
                      <a:lnTo>
                        <a:pt x="190" y="428"/>
                      </a:lnTo>
                      <a:lnTo>
                        <a:pt x="192" y="446"/>
                      </a:lnTo>
                      <a:lnTo>
                        <a:pt x="192" y="452"/>
                      </a:lnTo>
                      <a:lnTo>
                        <a:pt x="190" y="458"/>
                      </a:lnTo>
                      <a:lnTo>
                        <a:pt x="190" y="458"/>
                      </a:lnTo>
                      <a:lnTo>
                        <a:pt x="188" y="462"/>
                      </a:lnTo>
                      <a:lnTo>
                        <a:pt x="188" y="466"/>
                      </a:lnTo>
                      <a:lnTo>
                        <a:pt x="194" y="474"/>
                      </a:lnTo>
                      <a:lnTo>
                        <a:pt x="206" y="484"/>
                      </a:lnTo>
                      <a:lnTo>
                        <a:pt x="206" y="484"/>
                      </a:lnTo>
                      <a:lnTo>
                        <a:pt x="210" y="488"/>
                      </a:lnTo>
                      <a:lnTo>
                        <a:pt x="214" y="498"/>
                      </a:lnTo>
                      <a:lnTo>
                        <a:pt x="216" y="506"/>
                      </a:lnTo>
                      <a:lnTo>
                        <a:pt x="218" y="512"/>
                      </a:lnTo>
                      <a:lnTo>
                        <a:pt x="218" y="518"/>
                      </a:lnTo>
                      <a:lnTo>
                        <a:pt x="214" y="526"/>
                      </a:lnTo>
                      <a:lnTo>
                        <a:pt x="214" y="526"/>
                      </a:lnTo>
                      <a:lnTo>
                        <a:pt x="212" y="532"/>
                      </a:lnTo>
                      <a:lnTo>
                        <a:pt x="212" y="542"/>
                      </a:lnTo>
                      <a:lnTo>
                        <a:pt x="214" y="552"/>
                      </a:lnTo>
                      <a:lnTo>
                        <a:pt x="218" y="562"/>
                      </a:lnTo>
                      <a:lnTo>
                        <a:pt x="228" y="580"/>
                      </a:lnTo>
                      <a:lnTo>
                        <a:pt x="232" y="586"/>
                      </a:lnTo>
                      <a:lnTo>
                        <a:pt x="236" y="590"/>
                      </a:lnTo>
                      <a:lnTo>
                        <a:pt x="236" y="590"/>
                      </a:lnTo>
                      <a:lnTo>
                        <a:pt x="238" y="594"/>
                      </a:lnTo>
                      <a:lnTo>
                        <a:pt x="242" y="598"/>
                      </a:lnTo>
                      <a:lnTo>
                        <a:pt x="246" y="612"/>
                      </a:lnTo>
                      <a:lnTo>
                        <a:pt x="250" y="628"/>
                      </a:lnTo>
                      <a:lnTo>
                        <a:pt x="250" y="628"/>
                      </a:lnTo>
                      <a:lnTo>
                        <a:pt x="252" y="632"/>
                      </a:lnTo>
                      <a:lnTo>
                        <a:pt x="254" y="642"/>
                      </a:lnTo>
                      <a:lnTo>
                        <a:pt x="264" y="656"/>
                      </a:lnTo>
                      <a:lnTo>
                        <a:pt x="278" y="678"/>
                      </a:lnTo>
                      <a:lnTo>
                        <a:pt x="278" y="678"/>
                      </a:lnTo>
                      <a:lnTo>
                        <a:pt x="294" y="698"/>
                      </a:lnTo>
                      <a:lnTo>
                        <a:pt x="304" y="712"/>
                      </a:lnTo>
                      <a:lnTo>
                        <a:pt x="316" y="734"/>
                      </a:lnTo>
                      <a:lnTo>
                        <a:pt x="316" y="734"/>
                      </a:lnTo>
                      <a:lnTo>
                        <a:pt x="320" y="740"/>
                      </a:lnTo>
                      <a:lnTo>
                        <a:pt x="326" y="744"/>
                      </a:lnTo>
                      <a:lnTo>
                        <a:pt x="344" y="752"/>
                      </a:lnTo>
                      <a:lnTo>
                        <a:pt x="364" y="760"/>
                      </a:lnTo>
                      <a:lnTo>
                        <a:pt x="414" y="768"/>
                      </a:lnTo>
                      <a:lnTo>
                        <a:pt x="468" y="768"/>
                      </a:lnTo>
                      <a:lnTo>
                        <a:pt x="516" y="768"/>
                      </a:lnTo>
                      <a:lnTo>
                        <a:pt x="584" y="772"/>
                      </a:lnTo>
                      <a:lnTo>
                        <a:pt x="626" y="778"/>
                      </a:lnTo>
                      <a:lnTo>
                        <a:pt x="628" y="780"/>
                      </a:lnTo>
                      <a:lnTo>
                        <a:pt x="628" y="780"/>
                      </a:lnTo>
                      <a:lnTo>
                        <a:pt x="596" y="796"/>
                      </a:lnTo>
                      <a:lnTo>
                        <a:pt x="568" y="814"/>
                      </a:lnTo>
                      <a:lnTo>
                        <a:pt x="542" y="832"/>
                      </a:lnTo>
                      <a:lnTo>
                        <a:pt x="518" y="850"/>
                      </a:lnTo>
                      <a:lnTo>
                        <a:pt x="518" y="850"/>
                      </a:lnTo>
                      <a:lnTo>
                        <a:pt x="472" y="890"/>
                      </a:lnTo>
                      <a:lnTo>
                        <a:pt x="442" y="918"/>
                      </a:lnTo>
                      <a:lnTo>
                        <a:pt x="422" y="938"/>
                      </a:lnTo>
                      <a:lnTo>
                        <a:pt x="414" y="952"/>
                      </a:lnTo>
                      <a:lnTo>
                        <a:pt x="412" y="958"/>
                      </a:lnTo>
                      <a:lnTo>
                        <a:pt x="416" y="962"/>
                      </a:lnTo>
                      <a:lnTo>
                        <a:pt x="418" y="962"/>
                      </a:lnTo>
                      <a:lnTo>
                        <a:pt x="420" y="962"/>
                      </a:lnTo>
                      <a:lnTo>
                        <a:pt x="430" y="996"/>
                      </a:lnTo>
                      <a:lnTo>
                        <a:pt x="430" y="996"/>
                      </a:lnTo>
                      <a:lnTo>
                        <a:pt x="438" y="1020"/>
                      </a:lnTo>
                      <a:lnTo>
                        <a:pt x="446" y="1044"/>
                      </a:lnTo>
                      <a:lnTo>
                        <a:pt x="458" y="1074"/>
                      </a:lnTo>
                      <a:lnTo>
                        <a:pt x="474" y="1102"/>
                      </a:lnTo>
                      <a:lnTo>
                        <a:pt x="490" y="1130"/>
                      </a:lnTo>
                      <a:lnTo>
                        <a:pt x="500" y="1142"/>
                      </a:lnTo>
                      <a:lnTo>
                        <a:pt x="510" y="1152"/>
                      </a:lnTo>
                      <a:lnTo>
                        <a:pt x="520" y="1160"/>
                      </a:lnTo>
                      <a:lnTo>
                        <a:pt x="530" y="1166"/>
                      </a:lnTo>
                      <a:lnTo>
                        <a:pt x="530" y="1166"/>
                      </a:lnTo>
                      <a:lnTo>
                        <a:pt x="548" y="1174"/>
                      </a:lnTo>
                      <a:lnTo>
                        <a:pt x="560" y="1184"/>
                      </a:lnTo>
                      <a:lnTo>
                        <a:pt x="568" y="1194"/>
                      </a:lnTo>
                      <a:lnTo>
                        <a:pt x="572" y="1204"/>
                      </a:lnTo>
                      <a:lnTo>
                        <a:pt x="574" y="1214"/>
                      </a:lnTo>
                      <a:lnTo>
                        <a:pt x="574" y="1222"/>
                      </a:lnTo>
                      <a:lnTo>
                        <a:pt x="574" y="1228"/>
                      </a:lnTo>
                      <a:lnTo>
                        <a:pt x="574" y="1228"/>
                      </a:lnTo>
                      <a:lnTo>
                        <a:pt x="578" y="1236"/>
                      </a:lnTo>
                      <a:lnTo>
                        <a:pt x="588" y="1256"/>
                      </a:lnTo>
                      <a:lnTo>
                        <a:pt x="596" y="1268"/>
                      </a:lnTo>
                      <a:lnTo>
                        <a:pt x="604" y="1278"/>
                      </a:lnTo>
                      <a:lnTo>
                        <a:pt x="616" y="1284"/>
                      </a:lnTo>
                      <a:lnTo>
                        <a:pt x="626" y="1288"/>
                      </a:lnTo>
                      <a:lnTo>
                        <a:pt x="626" y="1288"/>
                      </a:lnTo>
                      <a:lnTo>
                        <a:pt x="632" y="1290"/>
                      </a:lnTo>
                      <a:lnTo>
                        <a:pt x="638" y="1294"/>
                      </a:lnTo>
                      <a:lnTo>
                        <a:pt x="642" y="1300"/>
                      </a:lnTo>
                      <a:lnTo>
                        <a:pt x="646" y="1306"/>
                      </a:lnTo>
                      <a:lnTo>
                        <a:pt x="652" y="1322"/>
                      </a:lnTo>
                      <a:lnTo>
                        <a:pt x="656" y="1340"/>
                      </a:lnTo>
                      <a:lnTo>
                        <a:pt x="660" y="1374"/>
                      </a:lnTo>
                      <a:lnTo>
                        <a:pt x="662" y="1388"/>
                      </a:lnTo>
                      <a:lnTo>
                        <a:pt x="662" y="1388"/>
                      </a:lnTo>
                      <a:lnTo>
                        <a:pt x="662" y="1404"/>
                      </a:lnTo>
                      <a:lnTo>
                        <a:pt x="660" y="1420"/>
                      </a:lnTo>
                      <a:lnTo>
                        <a:pt x="656" y="1442"/>
                      </a:lnTo>
                      <a:lnTo>
                        <a:pt x="650" y="1464"/>
                      </a:lnTo>
                      <a:lnTo>
                        <a:pt x="642" y="1486"/>
                      </a:lnTo>
                      <a:lnTo>
                        <a:pt x="636" y="1498"/>
                      </a:lnTo>
                      <a:lnTo>
                        <a:pt x="630" y="1508"/>
                      </a:lnTo>
                      <a:lnTo>
                        <a:pt x="622" y="1518"/>
                      </a:lnTo>
                      <a:lnTo>
                        <a:pt x="612" y="1528"/>
                      </a:lnTo>
                      <a:lnTo>
                        <a:pt x="612" y="1528"/>
                      </a:lnTo>
                      <a:lnTo>
                        <a:pt x="596" y="1544"/>
                      </a:lnTo>
                      <a:lnTo>
                        <a:pt x="582" y="1558"/>
                      </a:lnTo>
                      <a:lnTo>
                        <a:pt x="562" y="1580"/>
                      </a:lnTo>
                      <a:lnTo>
                        <a:pt x="550" y="1596"/>
                      </a:lnTo>
                      <a:lnTo>
                        <a:pt x="548" y="1602"/>
                      </a:lnTo>
                      <a:lnTo>
                        <a:pt x="548" y="1602"/>
                      </a:lnTo>
                      <a:lnTo>
                        <a:pt x="538" y="1616"/>
                      </a:lnTo>
                      <a:lnTo>
                        <a:pt x="530" y="1632"/>
                      </a:lnTo>
                      <a:lnTo>
                        <a:pt x="522" y="1652"/>
                      </a:lnTo>
                      <a:lnTo>
                        <a:pt x="522" y="1652"/>
                      </a:lnTo>
                      <a:lnTo>
                        <a:pt x="518" y="1676"/>
                      </a:lnTo>
                      <a:lnTo>
                        <a:pt x="516" y="1698"/>
                      </a:lnTo>
                      <a:lnTo>
                        <a:pt x="518" y="1716"/>
                      </a:lnTo>
                      <a:lnTo>
                        <a:pt x="520" y="1724"/>
                      </a:lnTo>
                      <a:lnTo>
                        <a:pt x="522" y="1732"/>
                      </a:lnTo>
                      <a:lnTo>
                        <a:pt x="522" y="1732"/>
                      </a:lnTo>
                      <a:lnTo>
                        <a:pt x="526" y="1736"/>
                      </a:lnTo>
                      <a:lnTo>
                        <a:pt x="532" y="1738"/>
                      </a:lnTo>
                      <a:lnTo>
                        <a:pt x="538" y="1738"/>
                      </a:lnTo>
                      <a:lnTo>
                        <a:pt x="544" y="1738"/>
                      </a:lnTo>
                      <a:lnTo>
                        <a:pt x="554" y="1734"/>
                      </a:lnTo>
                      <a:lnTo>
                        <a:pt x="558" y="1732"/>
                      </a:lnTo>
                      <a:lnTo>
                        <a:pt x="640" y="1640"/>
                      </a:lnTo>
                      <a:lnTo>
                        <a:pt x="636" y="1610"/>
                      </a:lnTo>
                      <a:lnTo>
                        <a:pt x="636" y="1610"/>
                      </a:lnTo>
                      <a:lnTo>
                        <a:pt x="648" y="1598"/>
                      </a:lnTo>
                      <a:lnTo>
                        <a:pt x="658" y="1590"/>
                      </a:lnTo>
                      <a:lnTo>
                        <a:pt x="664" y="1588"/>
                      </a:lnTo>
                      <a:lnTo>
                        <a:pt x="670" y="1586"/>
                      </a:lnTo>
                      <a:lnTo>
                        <a:pt x="670" y="1586"/>
                      </a:lnTo>
                      <a:lnTo>
                        <a:pt x="678" y="1582"/>
                      </a:lnTo>
                      <a:lnTo>
                        <a:pt x="684" y="1578"/>
                      </a:lnTo>
                      <a:lnTo>
                        <a:pt x="698" y="1562"/>
                      </a:lnTo>
                      <a:lnTo>
                        <a:pt x="712" y="1538"/>
                      </a:lnTo>
                      <a:lnTo>
                        <a:pt x="712" y="1538"/>
                      </a:lnTo>
                      <a:lnTo>
                        <a:pt x="732" y="1520"/>
                      </a:lnTo>
                      <a:lnTo>
                        <a:pt x="752" y="1500"/>
                      </a:lnTo>
                      <a:lnTo>
                        <a:pt x="770" y="1476"/>
                      </a:lnTo>
                      <a:lnTo>
                        <a:pt x="770" y="1476"/>
                      </a:lnTo>
                      <a:lnTo>
                        <a:pt x="790" y="1446"/>
                      </a:lnTo>
                      <a:lnTo>
                        <a:pt x="812" y="1410"/>
                      </a:lnTo>
                      <a:lnTo>
                        <a:pt x="830" y="1374"/>
                      </a:lnTo>
                      <a:lnTo>
                        <a:pt x="836" y="1356"/>
                      </a:lnTo>
                      <a:lnTo>
                        <a:pt x="840" y="1342"/>
                      </a:lnTo>
                      <a:lnTo>
                        <a:pt x="840" y="1342"/>
                      </a:lnTo>
                      <a:lnTo>
                        <a:pt x="854" y="1266"/>
                      </a:lnTo>
                      <a:lnTo>
                        <a:pt x="878" y="1136"/>
                      </a:lnTo>
                      <a:lnTo>
                        <a:pt x="890" y="1070"/>
                      </a:lnTo>
                      <a:lnTo>
                        <a:pt x="904" y="1014"/>
                      </a:lnTo>
                      <a:lnTo>
                        <a:pt x="910" y="992"/>
                      </a:lnTo>
                      <a:lnTo>
                        <a:pt x="916" y="974"/>
                      </a:lnTo>
                      <a:lnTo>
                        <a:pt x="922" y="964"/>
                      </a:lnTo>
                      <a:lnTo>
                        <a:pt x="924" y="960"/>
                      </a:lnTo>
                      <a:lnTo>
                        <a:pt x="926" y="960"/>
                      </a:lnTo>
                      <a:lnTo>
                        <a:pt x="926" y="960"/>
                      </a:lnTo>
                      <a:lnTo>
                        <a:pt x="932" y="958"/>
                      </a:lnTo>
                      <a:lnTo>
                        <a:pt x="938" y="954"/>
                      </a:lnTo>
                      <a:lnTo>
                        <a:pt x="950" y="942"/>
                      </a:lnTo>
                      <a:lnTo>
                        <a:pt x="964" y="926"/>
                      </a:lnTo>
                      <a:lnTo>
                        <a:pt x="976" y="908"/>
                      </a:lnTo>
                      <a:lnTo>
                        <a:pt x="968" y="972"/>
                      </a:lnTo>
                      <a:lnTo>
                        <a:pt x="972" y="994"/>
                      </a:lnTo>
                      <a:lnTo>
                        <a:pt x="962" y="1022"/>
                      </a:lnTo>
                      <a:lnTo>
                        <a:pt x="962" y="1068"/>
                      </a:lnTo>
                      <a:lnTo>
                        <a:pt x="962" y="1080"/>
                      </a:lnTo>
                      <a:lnTo>
                        <a:pt x="962" y="1146"/>
                      </a:lnTo>
                      <a:lnTo>
                        <a:pt x="972" y="1150"/>
                      </a:lnTo>
                      <a:lnTo>
                        <a:pt x="972" y="1160"/>
                      </a:lnTo>
                      <a:lnTo>
                        <a:pt x="962" y="1170"/>
                      </a:lnTo>
                      <a:lnTo>
                        <a:pt x="964" y="1202"/>
                      </a:lnTo>
                      <a:lnTo>
                        <a:pt x="964" y="1252"/>
                      </a:lnTo>
                      <a:lnTo>
                        <a:pt x="984" y="1294"/>
                      </a:lnTo>
                      <a:lnTo>
                        <a:pt x="1016" y="1320"/>
                      </a:lnTo>
                      <a:lnTo>
                        <a:pt x="1018" y="1292"/>
                      </a:lnTo>
                      <a:lnTo>
                        <a:pt x="1022" y="1320"/>
                      </a:lnTo>
                      <a:lnTo>
                        <a:pt x="1054" y="1294"/>
                      </a:lnTo>
                      <a:lnTo>
                        <a:pt x="1074" y="1252"/>
                      </a:lnTo>
                      <a:lnTo>
                        <a:pt x="1074" y="1202"/>
                      </a:lnTo>
                      <a:lnTo>
                        <a:pt x="1076" y="1170"/>
                      </a:lnTo>
                      <a:lnTo>
                        <a:pt x="1066" y="1160"/>
                      </a:lnTo>
                      <a:lnTo>
                        <a:pt x="1066" y="1150"/>
                      </a:lnTo>
                      <a:lnTo>
                        <a:pt x="1076" y="1146"/>
                      </a:lnTo>
                      <a:lnTo>
                        <a:pt x="1076" y="1080"/>
                      </a:lnTo>
                      <a:lnTo>
                        <a:pt x="1076" y="1068"/>
                      </a:lnTo>
                      <a:lnTo>
                        <a:pt x="1076" y="1022"/>
                      </a:lnTo>
                      <a:lnTo>
                        <a:pt x="1066" y="994"/>
                      </a:lnTo>
                      <a:lnTo>
                        <a:pt x="1068" y="972"/>
                      </a:lnTo>
                      <a:lnTo>
                        <a:pt x="1062" y="908"/>
                      </a:lnTo>
                      <a:lnTo>
                        <a:pt x="1062" y="908"/>
                      </a:lnTo>
                      <a:lnTo>
                        <a:pt x="1074" y="926"/>
                      </a:lnTo>
                      <a:lnTo>
                        <a:pt x="1088" y="942"/>
                      </a:lnTo>
                      <a:lnTo>
                        <a:pt x="1100" y="954"/>
                      </a:lnTo>
                      <a:lnTo>
                        <a:pt x="1106" y="958"/>
                      </a:lnTo>
                      <a:lnTo>
                        <a:pt x="1112" y="960"/>
                      </a:lnTo>
                      <a:lnTo>
                        <a:pt x="1112" y="960"/>
                      </a:lnTo>
                      <a:lnTo>
                        <a:pt x="1114" y="960"/>
                      </a:lnTo>
                      <a:lnTo>
                        <a:pt x="1116" y="964"/>
                      </a:lnTo>
                      <a:lnTo>
                        <a:pt x="1122" y="974"/>
                      </a:lnTo>
                      <a:lnTo>
                        <a:pt x="1128" y="992"/>
                      </a:lnTo>
                      <a:lnTo>
                        <a:pt x="1134" y="1014"/>
                      </a:lnTo>
                      <a:lnTo>
                        <a:pt x="1148" y="1070"/>
                      </a:lnTo>
                      <a:lnTo>
                        <a:pt x="1160" y="1136"/>
                      </a:lnTo>
                      <a:lnTo>
                        <a:pt x="1184" y="1266"/>
                      </a:lnTo>
                      <a:lnTo>
                        <a:pt x="1198" y="1342"/>
                      </a:lnTo>
                      <a:lnTo>
                        <a:pt x="1198" y="1342"/>
                      </a:lnTo>
                      <a:lnTo>
                        <a:pt x="1202" y="1356"/>
                      </a:lnTo>
                      <a:lnTo>
                        <a:pt x="1208" y="1374"/>
                      </a:lnTo>
                      <a:lnTo>
                        <a:pt x="1226" y="1410"/>
                      </a:lnTo>
                      <a:lnTo>
                        <a:pt x="1248" y="1446"/>
                      </a:lnTo>
                      <a:lnTo>
                        <a:pt x="1268" y="1476"/>
                      </a:lnTo>
                      <a:lnTo>
                        <a:pt x="1268" y="1476"/>
                      </a:lnTo>
                      <a:lnTo>
                        <a:pt x="1286" y="1500"/>
                      </a:lnTo>
                      <a:lnTo>
                        <a:pt x="1304" y="1520"/>
                      </a:lnTo>
                      <a:lnTo>
                        <a:pt x="1326" y="1538"/>
                      </a:lnTo>
                      <a:lnTo>
                        <a:pt x="1326" y="1538"/>
                      </a:lnTo>
                      <a:lnTo>
                        <a:pt x="1340" y="1562"/>
                      </a:lnTo>
                      <a:lnTo>
                        <a:pt x="1354" y="1578"/>
                      </a:lnTo>
                      <a:lnTo>
                        <a:pt x="1360" y="1582"/>
                      </a:lnTo>
                      <a:lnTo>
                        <a:pt x="1366" y="1586"/>
                      </a:lnTo>
                      <a:lnTo>
                        <a:pt x="1366" y="1586"/>
                      </a:lnTo>
                      <a:lnTo>
                        <a:pt x="1374" y="1588"/>
                      </a:lnTo>
                      <a:lnTo>
                        <a:pt x="1380" y="1590"/>
                      </a:lnTo>
                      <a:lnTo>
                        <a:pt x="1390" y="1598"/>
                      </a:lnTo>
                      <a:lnTo>
                        <a:pt x="1402" y="1610"/>
                      </a:lnTo>
                      <a:lnTo>
                        <a:pt x="1398" y="1640"/>
                      </a:lnTo>
                      <a:lnTo>
                        <a:pt x="1480" y="1732"/>
                      </a:lnTo>
                      <a:lnTo>
                        <a:pt x="1480" y="1732"/>
                      </a:lnTo>
                      <a:lnTo>
                        <a:pt x="1484" y="1734"/>
                      </a:lnTo>
                      <a:lnTo>
                        <a:pt x="1494" y="1738"/>
                      </a:lnTo>
                      <a:lnTo>
                        <a:pt x="1500" y="1738"/>
                      </a:lnTo>
                      <a:lnTo>
                        <a:pt x="1506" y="1738"/>
                      </a:lnTo>
                      <a:lnTo>
                        <a:pt x="1512" y="1736"/>
                      </a:lnTo>
                      <a:lnTo>
                        <a:pt x="1516" y="1732"/>
                      </a:lnTo>
                      <a:lnTo>
                        <a:pt x="1516" y="1732"/>
                      </a:lnTo>
                      <a:lnTo>
                        <a:pt x="1518" y="1724"/>
                      </a:lnTo>
                      <a:lnTo>
                        <a:pt x="1520" y="1716"/>
                      </a:lnTo>
                      <a:lnTo>
                        <a:pt x="1522" y="1698"/>
                      </a:lnTo>
                      <a:lnTo>
                        <a:pt x="1520" y="1676"/>
                      </a:lnTo>
                      <a:lnTo>
                        <a:pt x="1516" y="1652"/>
                      </a:lnTo>
                      <a:lnTo>
                        <a:pt x="1516" y="1652"/>
                      </a:lnTo>
                      <a:lnTo>
                        <a:pt x="1508" y="1632"/>
                      </a:lnTo>
                      <a:lnTo>
                        <a:pt x="1500" y="1616"/>
                      </a:lnTo>
                      <a:lnTo>
                        <a:pt x="1490" y="1602"/>
                      </a:lnTo>
                      <a:lnTo>
                        <a:pt x="1490" y="1602"/>
                      </a:lnTo>
                      <a:lnTo>
                        <a:pt x="1486" y="1596"/>
                      </a:lnTo>
                      <a:lnTo>
                        <a:pt x="1476" y="1580"/>
                      </a:lnTo>
                      <a:lnTo>
                        <a:pt x="1456" y="1558"/>
                      </a:lnTo>
                      <a:lnTo>
                        <a:pt x="1442" y="1544"/>
                      </a:lnTo>
                      <a:lnTo>
                        <a:pt x="1424" y="1528"/>
                      </a:lnTo>
                      <a:lnTo>
                        <a:pt x="1424" y="1528"/>
                      </a:lnTo>
                      <a:lnTo>
                        <a:pt x="1416" y="1518"/>
                      </a:lnTo>
                      <a:lnTo>
                        <a:pt x="1408" y="1508"/>
                      </a:lnTo>
                      <a:lnTo>
                        <a:pt x="1402" y="1498"/>
                      </a:lnTo>
                      <a:lnTo>
                        <a:pt x="1396" y="1486"/>
                      </a:lnTo>
                      <a:lnTo>
                        <a:pt x="1386" y="1464"/>
                      </a:lnTo>
                      <a:lnTo>
                        <a:pt x="1382" y="1442"/>
                      </a:lnTo>
                      <a:lnTo>
                        <a:pt x="1378" y="1420"/>
                      </a:lnTo>
                      <a:lnTo>
                        <a:pt x="1376" y="1404"/>
                      </a:lnTo>
                      <a:lnTo>
                        <a:pt x="1376" y="1388"/>
                      </a:lnTo>
                      <a:lnTo>
                        <a:pt x="1376" y="1388"/>
                      </a:lnTo>
                      <a:lnTo>
                        <a:pt x="1378" y="1374"/>
                      </a:lnTo>
                      <a:lnTo>
                        <a:pt x="1382" y="1340"/>
                      </a:lnTo>
                      <a:lnTo>
                        <a:pt x="1386" y="1322"/>
                      </a:lnTo>
                      <a:lnTo>
                        <a:pt x="1392" y="1306"/>
                      </a:lnTo>
                      <a:lnTo>
                        <a:pt x="1396" y="1300"/>
                      </a:lnTo>
                      <a:lnTo>
                        <a:pt x="1400" y="1294"/>
                      </a:lnTo>
                      <a:lnTo>
                        <a:pt x="1406" y="1290"/>
                      </a:lnTo>
                      <a:lnTo>
                        <a:pt x="1410" y="1288"/>
                      </a:lnTo>
                      <a:lnTo>
                        <a:pt x="1410" y="1288"/>
                      </a:lnTo>
                      <a:lnTo>
                        <a:pt x="1422" y="1284"/>
                      </a:lnTo>
                      <a:lnTo>
                        <a:pt x="1432" y="1278"/>
                      </a:lnTo>
                      <a:lnTo>
                        <a:pt x="1442" y="1268"/>
                      </a:lnTo>
                      <a:lnTo>
                        <a:pt x="1450" y="1256"/>
                      </a:lnTo>
                      <a:lnTo>
                        <a:pt x="1460" y="1236"/>
                      </a:lnTo>
                      <a:lnTo>
                        <a:pt x="1464" y="1228"/>
                      </a:lnTo>
                      <a:lnTo>
                        <a:pt x="1464" y="1228"/>
                      </a:lnTo>
                      <a:lnTo>
                        <a:pt x="1464" y="1222"/>
                      </a:lnTo>
                      <a:lnTo>
                        <a:pt x="1464" y="1214"/>
                      </a:lnTo>
                      <a:lnTo>
                        <a:pt x="1466" y="1204"/>
                      </a:lnTo>
                      <a:lnTo>
                        <a:pt x="1470" y="1194"/>
                      </a:lnTo>
                      <a:lnTo>
                        <a:pt x="1478" y="1184"/>
                      </a:lnTo>
                      <a:lnTo>
                        <a:pt x="1490" y="1174"/>
                      </a:lnTo>
                      <a:lnTo>
                        <a:pt x="1508" y="1166"/>
                      </a:lnTo>
                      <a:lnTo>
                        <a:pt x="1508" y="1166"/>
                      </a:lnTo>
                      <a:lnTo>
                        <a:pt x="1518" y="1160"/>
                      </a:lnTo>
                      <a:lnTo>
                        <a:pt x="1528" y="1152"/>
                      </a:lnTo>
                      <a:lnTo>
                        <a:pt x="1538" y="1142"/>
                      </a:lnTo>
                      <a:lnTo>
                        <a:pt x="1548" y="1130"/>
                      </a:lnTo>
                      <a:lnTo>
                        <a:pt x="1564" y="1102"/>
                      </a:lnTo>
                      <a:lnTo>
                        <a:pt x="1580" y="1074"/>
                      </a:lnTo>
                      <a:lnTo>
                        <a:pt x="1592" y="1044"/>
                      </a:lnTo>
                      <a:lnTo>
                        <a:pt x="1600" y="1020"/>
                      </a:lnTo>
                      <a:lnTo>
                        <a:pt x="1608" y="996"/>
                      </a:lnTo>
                      <a:lnTo>
                        <a:pt x="1618" y="962"/>
                      </a:lnTo>
                      <a:lnTo>
                        <a:pt x="1618" y="962"/>
                      </a:lnTo>
                      <a:lnTo>
                        <a:pt x="1620" y="962"/>
                      </a:lnTo>
                      <a:lnTo>
                        <a:pt x="1622" y="962"/>
                      </a:lnTo>
                      <a:lnTo>
                        <a:pt x="1626" y="958"/>
                      </a:lnTo>
                      <a:lnTo>
                        <a:pt x="1624" y="952"/>
                      </a:lnTo>
                      <a:lnTo>
                        <a:pt x="1614" y="938"/>
                      </a:lnTo>
                      <a:lnTo>
                        <a:pt x="1596" y="918"/>
                      </a:lnTo>
                      <a:lnTo>
                        <a:pt x="1566" y="890"/>
                      </a:lnTo>
                      <a:lnTo>
                        <a:pt x="1520" y="850"/>
                      </a:lnTo>
                      <a:lnTo>
                        <a:pt x="1520" y="850"/>
                      </a:lnTo>
                      <a:lnTo>
                        <a:pt x="1496" y="832"/>
                      </a:lnTo>
                      <a:lnTo>
                        <a:pt x="1470" y="814"/>
                      </a:lnTo>
                      <a:lnTo>
                        <a:pt x="1440" y="796"/>
                      </a:lnTo>
                      <a:lnTo>
                        <a:pt x="1410" y="780"/>
                      </a:lnTo>
                      <a:lnTo>
                        <a:pt x="1412" y="778"/>
                      </a:lnTo>
                      <a:lnTo>
                        <a:pt x="1454" y="772"/>
                      </a:lnTo>
                      <a:lnTo>
                        <a:pt x="1522" y="768"/>
                      </a:lnTo>
                      <a:lnTo>
                        <a:pt x="1570" y="768"/>
                      </a:lnTo>
                      <a:lnTo>
                        <a:pt x="1624" y="768"/>
                      </a:lnTo>
                      <a:lnTo>
                        <a:pt x="1674" y="760"/>
                      </a:lnTo>
                      <a:lnTo>
                        <a:pt x="1674" y="760"/>
                      </a:lnTo>
                      <a:lnTo>
                        <a:pt x="1694" y="752"/>
                      </a:lnTo>
                      <a:lnTo>
                        <a:pt x="1710" y="744"/>
                      </a:lnTo>
                      <a:lnTo>
                        <a:pt x="1718" y="740"/>
                      </a:lnTo>
                      <a:lnTo>
                        <a:pt x="1722" y="734"/>
                      </a:lnTo>
                      <a:lnTo>
                        <a:pt x="1722" y="734"/>
                      </a:lnTo>
                      <a:lnTo>
                        <a:pt x="1734" y="712"/>
                      </a:lnTo>
                      <a:lnTo>
                        <a:pt x="1744" y="698"/>
                      </a:lnTo>
                      <a:lnTo>
                        <a:pt x="1760" y="678"/>
                      </a:lnTo>
                      <a:lnTo>
                        <a:pt x="1760" y="678"/>
                      </a:lnTo>
                      <a:lnTo>
                        <a:pt x="1774" y="656"/>
                      </a:lnTo>
                      <a:lnTo>
                        <a:pt x="1782" y="642"/>
                      </a:lnTo>
                      <a:lnTo>
                        <a:pt x="1786" y="632"/>
                      </a:lnTo>
                      <a:lnTo>
                        <a:pt x="1788" y="628"/>
                      </a:lnTo>
                      <a:lnTo>
                        <a:pt x="1788" y="628"/>
                      </a:lnTo>
                      <a:lnTo>
                        <a:pt x="1792" y="612"/>
                      </a:lnTo>
                      <a:lnTo>
                        <a:pt x="1796" y="598"/>
                      </a:lnTo>
                      <a:lnTo>
                        <a:pt x="1798" y="594"/>
                      </a:lnTo>
                      <a:lnTo>
                        <a:pt x="1802" y="590"/>
                      </a:lnTo>
                      <a:lnTo>
                        <a:pt x="1802" y="590"/>
                      </a:lnTo>
                      <a:lnTo>
                        <a:pt x="1806" y="586"/>
                      </a:lnTo>
                      <a:lnTo>
                        <a:pt x="1810" y="580"/>
                      </a:lnTo>
                      <a:lnTo>
                        <a:pt x="1820" y="562"/>
                      </a:lnTo>
                      <a:lnTo>
                        <a:pt x="1824" y="552"/>
                      </a:lnTo>
                      <a:lnTo>
                        <a:pt x="1826" y="542"/>
                      </a:lnTo>
                      <a:lnTo>
                        <a:pt x="1826" y="532"/>
                      </a:lnTo>
                      <a:lnTo>
                        <a:pt x="1822" y="526"/>
                      </a:lnTo>
                      <a:lnTo>
                        <a:pt x="1822" y="526"/>
                      </a:lnTo>
                      <a:lnTo>
                        <a:pt x="1820" y="518"/>
                      </a:lnTo>
                      <a:lnTo>
                        <a:pt x="1820" y="512"/>
                      </a:lnTo>
                      <a:lnTo>
                        <a:pt x="1820" y="506"/>
                      </a:lnTo>
                      <a:lnTo>
                        <a:pt x="1824" y="498"/>
                      </a:lnTo>
                      <a:lnTo>
                        <a:pt x="1828" y="488"/>
                      </a:lnTo>
                      <a:lnTo>
                        <a:pt x="1832" y="484"/>
                      </a:lnTo>
                      <a:lnTo>
                        <a:pt x="1832" y="484"/>
                      </a:lnTo>
                      <a:lnTo>
                        <a:pt x="1842" y="474"/>
                      </a:lnTo>
                      <a:lnTo>
                        <a:pt x="1850" y="466"/>
                      </a:lnTo>
                      <a:lnTo>
                        <a:pt x="1850" y="462"/>
                      </a:lnTo>
                      <a:lnTo>
                        <a:pt x="1848" y="458"/>
                      </a:lnTo>
                      <a:lnTo>
                        <a:pt x="1848" y="458"/>
                      </a:lnTo>
                      <a:lnTo>
                        <a:pt x="1846" y="452"/>
                      </a:lnTo>
                      <a:lnTo>
                        <a:pt x="1846" y="446"/>
                      </a:lnTo>
                      <a:lnTo>
                        <a:pt x="1848" y="428"/>
                      </a:lnTo>
                      <a:lnTo>
                        <a:pt x="1852" y="404"/>
                      </a:lnTo>
                      <a:lnTo>
                        <a:pt x="1852" y="404"/>
                      </a:lnTo>
                      <a:lnTo>
                        <a:pt x="1868" y="384"/>
                      </a:lnTo>
                      <a:lnTo>
                        <a:pt x="1880" y="370"/>
                      </a:lnTo>
                      <a:lnTo>
                        <a:pt x="1882" y="364"/>
                      </a:lnTo>
                      <a:lnTo>
                        <a:pt x="1884" y="358"/>
                      </a:lnTo>
                      <a:lnTo>
                        <a:pt x="1884" y="358"/>
                      </a:lnTo>
                      <a:lnTo>
                        <a:pt x="1888" y="348"/>
                      </a:lnTo>
                      <a:lnTo>
                        <a:pt x="1896" y="332"/>
                      </a:lnTo>
                      <a:lnTo>
                        <a:pt x="1910" y="318"/>
                      </a:lnTo>
                      <a:lnTo>
                        <a:pt x="1916" y="312"/>
                      </a:lnTo>
                      <a:lnTo>
                        <a:pt x="1924" y="308"/>
                      </a:lnTo>
                      <a:lnTo>
                        <a:pt x="1924" y="308"/>
                      </a:lnTo>
                      <a:lnTo>
                        <a:pt x="1930" y="302"/>
                      </a:lnTo>
                      <a:lnTo>
                        <a:pt x="1936" y="298"/>
                      </a:lnTo>
                      <a:lnTo>
                        <a:pt x="1946" y="286"/>
                      </a:lnTo>
                      <a:lnTo>
                        <a:pt x="1956" y="272"/>
                      </a:lnTo>
                      <a:lnTo>
                        <a:pt x="1956" y="272"/>
                      </a:lnTo>
                      <a:lnTo>
                        <a:pt x="1960" y="258"/>
                      </a:lnTo>
                      <a:lnTo>
                        <a:pt x="1966" y="246"/>
                      </a:lnTo>
                      <a:lnTo>
                        <a:pt x="1970" y="242"/>
                      </a:lnTo>
                      <a:lnTo>
                        <a:pt x="1974" y="240"/>
                      </a:lnTo>
                      <a:lnTo>
                        <a:pt x="1974" y="240"/>
                      </a:lnTo>
                      <a:lnTo>
                        <a:pt x="1980" y="236"/>
                      </a:lnTo>
                      <a:lnTo>
                        <a:pt x="1984" y="232"/>
                      </a:lnTo>
                      <a:lnTo>
                        <a:pt x="1994" y="218"/>
                      </a:lnTo>
                      <a:lnTo>
                        <a:pt x="2006" y="202"/>
                      </a:lnTo>
                      <a:lnTo>
                        <a:pt x="2028" y="156"/>
                      </a:lnTo>
                      <a:lnTo>
                        <a:pt x="2038" y="114"/>
                      </a:lnTo>
                      <a:lnTo>
                        <a:pt x="2036" y="78"/>
                      </a:lnTo>
                      <a:close/>
                      <a:moveTo>
                        <a:pt x="1014" y="582"/>
                      </a:moveTo>
                      <a:lnTo>
                        <a:pt x="1014" y="584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>
                  <a:glow rad="190500">
                    <a:schemeClr val="bg2">
                      <a:lumMod val="60000"/>
                      <a:lumOff val="40000"/>
                      <a:alpha val="11000"/>
                    </a:schemeClr>
                  </a:glow>
                  <a:softEdge rad="127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27" name="Group 172"/>
              <p:cNvGrpSpPr>
                <a:grpSpLocks noChangeAspect="1"/>
              </p:cNvGrpSpPr>
              <p:nvPr/>
            </p:nvGrpSpPr>
            <p:grpSpPr>
              <a:xfrm rot="19711069">
                <a:off x="7705128" y="419213"/>
                <a:ext cx="1376651" cy="1173997"/>
                <a:chOff x="5181600" y="457200"/>
                <a:chExt cx="3235325" cy="2759075"/>
              </a:xfrm>
              <a:solidFill>
                <a:schemeClr val="bg2">
                  <a:lumMod val="60000"/>
                  <a:lumOff val="40000"/>
                  <a:alpha val="1000"/>
                </a:schemeClr>
              </a:solidFill>
            </p:grpSpPr>
            <p:sp>
              <p:nvSpPr>
                <p:cNvPr id="238" name="Freeform 86"/>
                <p:cNvSpPr>
                  <a:spLocks/>
                </p:cNvSpPr>
                <p:nvPr/>
              </p:nvSpPr>
              <p:spPr bwMode="auto">
                <a:xfrm>
                  <a:off x="6400801" y="787399"/>
                  <a:ext cx="390524" cy="581026"/>
                </a:xfrm>
                <a:custGeom>
                  <a:avLst/>
                  <a:gdLst/>
                  <a:ahLst/>
                  <a:cxnLst>
                    <a:cxn ang="0">
                      <a:pos x="242" y="366"/>
                    </a:cxn>
                    <a:cxn ang="0">
                      <a:pos x="242" y="366"/>
                    </a:cxn>
                    <a:cxn ang="0">
                      <a:pos x="244" y="364"/>
                    </a:cxn>
                    <a:cxn ang="0">
                      <a:pos x="246" y="364"/>
                    </a:cxn>
                    <a:cxn ang="0">
                      <a:pos x="246" y="364"/>
                    </a:cxn>
                    <a:cxn ang="0">
                      <a:pos x="236" y="348"/>
                    </a:cxn>
                    <a:cxn ang="0">
                      <a:pos x="50" y="54"/>
                    </a:cxn>
                    <a:cxn ang="0">
                      <a:pos x="50" y="54"/>
                    </a:cxn>
                    <a:cxn ang="0">
                      <a:pos x="32" y="28"/>
                    </a:cxn>
                    <a:cxn ang="0">
                      <a:pos x="32" y="26"/>
                    </a:cxn>
                    <a:cxn ang="0">
                      <a:pos x="32" y="26"/>
                    </a:cxn>
                    <a:cxn ang="0">
                      <a:pos x="22" y="14"/>
                    </a:cxn>
                    <a:cxn ang="0">
                      <a:pos x="10" y="4"/>
                    </a:cxn>
                    <a:cxn ang="0">
                      <a:pos x="10" y="4"/>
                    </a:cxn>
                    <a:cxn ang="0">
                      <a:pos x="6" y="2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6"/>
                    </a:cxn>
                    <a:cxn ang="0">
                      <a:pos x="0" y="6"/>
                    </a:cxn>
                    <a:cxn ang="0">
                      <a:pos x="4" y="16"/>
                    </a:cxn>
                    <a:cxn ang="0">
                      <a:pos x="10" y="24"/>
                    </a:cxn>
                    <a:cxn ang="0">
                      <a:pos x="10" y="24"/>
                    </a:cxn>
                    <a:cxn ang="0">
                      <a:pos x="20" y="34"/>
                    </a:cxn>
                    <a:cxn ang="0">
                      <a:pos x="28" y="44"/>
                    </a:cxn>
                    <a:cxn ang="0">
                      <a:pos x="232" y="352"/>
                    </a:cxn>
                    <a:cxn ang="0">
                      <a:pos x="232" y="352"/>
                    </a:cxn>
                    <a:cxn ang="0">
                      <a:pos x="238" y="362"/>
                    </a:cxn>
                    <a:cxn ang="0">
                      <a:pos x="242" y="366"/>
                    </a:cxn>
                    <a:cxn ang="0">
                      <a:pos x="242" y="366"/>
                    </a:cxn>
                  </a:cxnLst>
                  <a:rect l="0" t="0" r="r" b="b"/>
                  <a:pathLst>
                    <a:path w="246" h="366">
                      <a:moveTo>
                        <a:pt x="242" y="366"/>
                      </a:moveTo>
                      <a:lnTo>
                        <a:pt x="242" y="366"/>
                      </a:lnTo>
                      <a:lnTo>
                        <a:pt x="244" y="364"/>
                      </a:lnTo>
                      <a:lnTo>
                        <a:pt x="246" y="364"/>
                      </a:lnTo>
                      <a:lnTo>
                        <a:pt x="246" y="364"/>
                      </a:lnTo>
                      <a:lnTo>
                        <a:pt x="236" y="348"/>
                      </a:lnTo>
                      <a:lnTo>
                        <a:pt x="50" y="54"/>
                      </a:lnTo>
                      <a:lnTo>
                        <a:pt x="50" y="54"/>
                      </a:lnTo>
                      <a:lnTo>
                        <a:pt x="32" y="28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22" y="1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16"/>
                      </a:lnTo>
                      <a:lnTo>
                        <a:pt x="10" y="24"/>
                      </a:lnTo>
                      <a:lnTo>
                        <a:pt x="10" y="24"/>
                      </a:lnTo>
                      <a:lnTo>
                        <a:pt x="20" y="34"/>
                      </a:lnTo>
                      <a:lnTo>
                        <a:pt x="28" y="44"/>
                      </a:lnTo>
                      <a:lnTo>
                        <a:pt x="232" y="352"/>
                      </a:lnTo>
                      <a:lnTo>
                        <a:pt x="232" y="352"/>
                      </a:lnTo>
                      <a:lnTo>
                        <a:pt x="238" y="362"/>
                      </a:lnTo>
                      <a:lnTo>
                        <a:pt x="242" y="366"/>
                      </a:lnTo>
                      <a:lnTo>
                        <a:pt x="242" y="3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9" name="Freeform 87"/>
                <p:cNvSpPr>
                  <a:spLocks/>
                </p:cNvSpPr>
                <p:nvPr/>
              </p:nvSpPr>
              <p:spPr bwMode="auto">
                <a:xfrm>
                  <a:off x="6791325" y="1381124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0" name="Freeform 88"/>
                <p:cNvSpPr>
                  <a:spLocks/>
                </p:cNvSpPr>
                <p:nvPr/>
              </p:nvSpPr>
              <p:spPr bwMode="auto">
                <a:xfrm>
                  <a:off x="6819900" y="787399"/>
                  <a:ext cx="387350" cy="581026"/>
                </a:xfrm>
                <a:custGeom>
                  <a:avLst/>
                  <a:gdLst/>
                  <a:ahLst/>
                  <a:cxnLst>
                    <a:cxn ang="0">
                      <a:pos x="2" y="366"/>
                    </a:cxn>
                    <a:cxn ang="0">
                      <a:pos x="2" y="366"/>
                    </a:cxn>
                    <a:cxn ang="0">
                      <a:pos x="6" y="362"/>
                    </a:cxn>
                    <a:cxn ang="0">
                      <a:pos x="14" y="352"/>
                    </a:cxn>
                    <a:cxn ang="0">
                      <a:pos x="216" y="44"/>
                    </a:cxn>
                    <a:cxn ang="0">
                      <a:pos x="216" y="44"/>
                    </a:cxn>
                    <a:cxn ang="0">
                      <a:pos x="226" y="34"/>
                    </a:cxn>
                    <a:cxn ang="0">
                      <a:pos x="234" y="24"/>
                    </a:cxn>
                    <a:cxn ang="0">
                      <a:pos x="234" y="24"/>
                    </a:cxn>
                    <a:cxn ang="0">
                      <a:pos x="240" y="16"/>
                    </a:cxn>
                    <a:cxn ang="0">
                      <a:pos x="244" y="6"/>
                    </a:cxn>
                    <a:cxn ang="0">
                      <a:pos x="244" y="6"/>
                    </a:cxn>
                    <a:cxn ang="0">
                      <a:pos x="244" y="2"/>
                    </a:cxn>
                    <a:cxn ang="0">
                      <a:pos x="242" y="0"/>
                    </a:cxn>
                    <a:cxn ang="0">
                      <a:pos x="238" y="2"/>
                    </a:cxn>
                    <a:cxn ang="0">
                      <a:pos x="234" y="4"/>
                    </a:cxn>
                    <a:cxn ang="0">
                      <a:pos x="234" y="4"/>
                    </a:cxn>
                    <a:cxn ang="0">
                      <a:pos x="222" y="14"/>
                    </a:cxn>
                    <a:cxn ang="0">
                      <a:pos x="212" y="26"/>
                    </a:cxn>
                    <a:cxn ang="0">
                      <a:pos x="212" y="28"/>
                    </a:cxn>
                    <a:cxn ang="0">
                      <a:pos x="212" y="28"/>
                    </a:cxn>
                    <a:cxn ang="0">
                      <a:pos x="194" y="54"/>
                    </a:cxn>
                    <a:cxn ang="0">
                      <a:pos x="8" y="348"/>
                    </a:cxn>
                    <a:cxn ang="0">
                      <a:pos x="8" y="348"/>
                    </a:cxn>
                    <a:cxn ang="0">
                      <a:pos x="0" y="364"/>
                    </a:cxn>
                    <a:cxn ang="0">
                      <a:pos x="0" y="364"/>
                    </a:cxn>
                    <a:cxn ang="0">
                      <a:pos x="0" y="366"/>
                    </a:cxn>
                    <a:cxn ang="0">
                      <a:pos x="0" y="366"/>
                    </a:cxn>
                    <a:cxn ang="0">
                      <a:pos x="2" y="366"/>
                    </a:cxn>
                    <a:cxn ang="0">
                      <a:pos x="2" y="366"/>
                    </a:cxn>
                  </a:cxnLst>
                  <a:rect l="0" t="0" r="r" b="b"/>
                  <a:pathLst>
                    <a:path w="244" h="366">
                      <a:moveTo>
                        <a:pt x="2" y="366"/>
                      </a:moveTo>
                      <a:lnTo>
                        <a:pt x="2" y="366"/>
                      </a:lnTo>
                      <a:lnTo>
                        <a:pt x="6" y="362"/>
                      </a:lnTo>
                      <a:lnTo>
                        <a:pt x="14" y="352"/>
                      </a:lnTo>
                      <a:lnTo>
                        <a:pt x="216" y="44"/>
                      </a:lnTo>
                      <a:lnTo>
                        <a:pt x="216" y="44"/>
                      </a:lnTo>
                      <a:lnTo>
                        <a:pt x="226" y="34"/>
                      </a:lnTo>
                      <a:lnTo>
                        <a:pt x="234" y="24"/>
                      </a:lnTo>
                      <a:lnTo>
                        <a:pt x="234" y="24"/>
                      </a:lnTo>
                      <a:lnTo>
                        <a:pt x="240" y="16"/>
                      </a:lnTo>
                      <a:lnTo>
                        <a:pt x="244" y="6"/>
                      </a:lnTo>
                      <a:lnTo>
                        <a:pt x="244" y="6"/>
                      </a:lnTo>
                      <a:lnTo>
                        <a:pt x="244" y="2"/>
                      </a:lnTo>
                      <a:lnTo>
                        <a:pt x="242" y="0"/>
                      </a:lnTo>
                      <a:lnTo>
                        <a:pt x="238" y="2"/>
                      </a:lnTo>
                      <a:lnTo>
                        <a:pt x="234" y="4"/>
                      </a:lnTo>
                      <a:lnTo>
                        <a:pt x="234" y="4"/>
                      </a:lnTo>
                      <a:lnTo>
                        <a:pt x="222" y="14"/>
                      </a:lnTo>
                      <a:lnTo>
                        <a:pt x="212" y="26"/>
                      </a:lnTo>
                      <a:lnTo>
                        <a:pt x="212" y="28"/>
                      </a:lnTo>
                      <a:lnTo>
                        <a:pt x="212" y="28"/>
                      </a:lnTo>
                      <a:lnTo>
                        <a:pt x="194" y="54"/>
                      </a:lnTo>
                      <a:lnTo>
                        <a:pt x="8" y="348"/>
                      </a:lnTo>
                      <a:lnTo>
                        <a:pt x="8" y="348"/>
                      </a:lnTo>
                      <a:lnTo>
                        <a:pt x="0" y="364"/>
                      </a:lnTo>
                      <a:lnTo>
                        <a:pt x="0" y="364"/>
                      </a:lnTo>
                      <a:lnTo>
                        <a:pt x="0" y="366"/>
                      </a:lnTo>
                      <a:lnTo>
                        <a:pt x="0" y="366"/>
                      </a:lnTo>
                      <a:lnTo>
                        <a:pt x="2" y="366"/>
                      </a:lnTo>
                      <a:lnTo>
                        <a:pt x="2" y="3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1" name="Freeform 89"/>
                <p:cNvSpPr>
                  <a:spLocks noEditPoints="1"/>
                </p:cNvSpPr>
                <p:nvPr/>
              </p:nvSpPr>
              <p:spPr bwMode="auto">
                <a:xfrm>
                  <a:off x="5181600" y="457200"/>
                  <a:ext cx="3235325" cy="2759075"/>
                </a:xfrm>
                <a:custGeom>
                  <a:avLst/>
                  <a:gdLst/>
                  <a:ahLst/>
                  <a:cxnLst>
                    <a:cxn ang="0">
                      <a:pos x="1778" y="8"/>
                    </a:cxn>
                    <a:cxn ang="0">
                      <a:pos x="1424" y="184"/>
                    </a:cxn>
                    <a:cxn ang="0">
                      <a:pos x="1152" y="514"/>
                    </a:cxn>
                    <a:cxn ang="0">
                      <a:pos x="1064" y="610"/>
                    </a:cxn>
                    <a:cxn ang="0">
                      <a:pos x="1042" y="574"/>
                    </a:cxn>
                    <a:cxn ang="0">
                      <a:pos x="1014" y="574"/>
                    </a:cxn>
                    <a:cxn ang="0">
                      <a:pos x="982" y="586"/>
                    </a:cxn>
                    <a:cxn ang="0">
                      <a:pos x="964" y="644"/>
                    </a:cxn>
                    <a:cxn ang="0">
                      <a:pos x="774" y="350"/>
                    </a:cxn>
                    <a:cxn ang="0">
                      <a:pos x="432" y="66"/>
                    </a:cxn>
                    <a:cxn ang="0">
                      <a:pos x="60" y="14"/>
                    </a:cxn>
                    <a:cxn ang="0">
                      <a:pos x="58" y="236"/>
                    </a:cxn>
                    <a:cxn ang="0">
                      <a:pos x="100" y="298"/>
                    </a:cxn>
                    <a:cxn ang="0">
                      <a:pos x="154" y="358"/>
                    </a:cxn>
                    <a:cxn ang="0">
                      <a:pos x="190" y="458"/>
                    </a:cxn>
                    <a:cxn ang="0">
                      <a:pos x="216" y="506"/>
                    </a:cxn>
                    <a:cxn ang="0">
                      <a:pos x="228" y="580"/>
                    </a:cxn>
                    <a:cxn ang="0">
                      <a:pos x="252" y="632"/>
                    </a:cxn>
                    <a:cxn ang="0">
                      <a:pos x="320" y="740"/>
                    </a:cxn>
                    <a:cxn ang="0">
                      <a:pos x="628" y="780"/>
                    </a:cxn>
                    <a:cxn ang="0">
                      <a:pos x="422" y="938"/>
                    </a:cxn>
                    <a:cxn ang="0">
                      <a:pos x="446" y="1044"/>
                    </a:cxn>
                    <a:cxn ang="0">
                      <a:pos x="548" y="1174"/>
                    </a:cxn>
                    <a:cxn ang="0">
                      <a:pos x="588" y="1256"/>
                    </a:cxn>
                    <a:cxn ang="0">
                      <a:pos x="646" y="1306"/>
                    </a:cxn>
                    <a:cxn ang="0">
                      <a:pos x="650" y="1464"/>
                    </a:cxn>
                    <a:cxn ang="0">
                      <a:pos x="562" y="1580"/>
                    </a:cxn>
                    <a:cxn ang="0">
                      <a:pos x="516" y="1698"/>
                    </a:cxn>
                    <a:cxn ang="0">
                      <a:pos x="554" y="1734"/>
                    </a:cxn>
                    <a:cxn ang="0">
                      <a:pos x="670" y="1586"/>
                    </a:cxn>
                    <a:cxn ang="0">
                      <a:pos x="770" y="1476"/>
                    </a:cxn>
                    <a:cxn ang="0">
                      <a:pos x="890" y="1070"/>
                    </a:cxn>
                    <a:cxn ang="0">
                      <a:pos x="938" y="954"/>
                    </a:cxn>
                    <a:cxn ang="0">
                      <a:pos x="962" y="1146"/>
                    </a:cxn>
                    <a:cxn ang="0">
                      <a:pos x="1022" y="1320"/>
                    </a:cxn>
                    <a:cxn ang="0">
                      <a:pos x="1076" y="1068"/>
                    </a:cxn>
                    <a:cxn ang="0">
                      <a:pos x="1106" y="958"/>
                    </a:cxn>
                    <a:cxn ang="0">
                      <a:pos x="1160" y="1136"/>
                    </a:cxn>
                    <a:cxn ang="0">
                      <a:pos x="1268" y="1476"/>
                    </a:cxn>
                    <a:cxn ang="0">
                      <a:pos x="1366" y="1586"/>
                    </a:cxn>
                    <a:cxn ang="0">
                      <a:pos x="1494" y="1738"/>
                    </a:cxn>
                    <a:cxn ang="0">
                      <a:pos x="1520" y="1676"/>
                    </a:cxn>
                    <a:cxn ang="0">
                      <a:pos x="1456" y="1558"/>
                    </a:cxn>
                    <a:cxn ang="0">
                      <a:pos x="1382" y="1442"/>
                    </a:cxn>
                    <a:cxn ang="0">
                      <a:pos x="1396" y="1300"/>
                    </a:cxn>
                    <a:cxn ang="0">
                      <a:pos x="1460" y="1236"/>
                    </a:cxn>
                    <a:cxn ang="0">
                      <a:pos x="1508" y="1166"/>
                    </a:cxn>
                    <a:cxn ang="0">
                      <a:pos x="1600" y="1020"/>
                    </a:cxn>
                    <a:cxn ang="0">
                      <a:pos x="1596" y="918"/>
                    </a:cxn>
                    <a:cxn ang="0">
                      <a:pos x="1454" y="772"/>
                    </a:cxn>
                    <a:cxn ang="0">
                      <a:pos x="1722" y="734"/>
                    </a:cxn>
                    <a:cxn ang="0">
                      <a:pos x="1788" y="628"/>
                    </a:cxn>
                    <a:cxn ang="0">
                      <a:pos x="1820" y="562"/>
                    </a:cxn>
                    <a:cxn ang="0">
                      <a:pos x="1824" y="498"/>
                    </a:cxn>
                    <a:cxn ang="0">
                      <a:pos x="1846" y="452"/>
                    </a:cxn>
                    <a:cxn ang="0">
                      <a:pos x="1884" y="358"/>
                    </a:cxn>
                    <a:cxn ang="0">
                      <a:pos x="1946" y="286"/>
                    </a:cxn>
                    <a:cxn ang="0">
                      <a:pos x="1984" y="232"/>
                    </a:cxn>
                    <a:cxn ang="0">
                      <a:pos x="1014" y="582"/>
                    </a:cxn>
                  </a:cxnLst>
                  <a:rect l="0" t="0" r="r" b="b"/>
                  <a:pathLst>
                    <a:path w="2038" h="1738">
                      <a:moveTo>
                        <a:pt x="2036" y="78"/>
                      </a:moveTo>
                      <a:lnTo>
                        <a:pt x="2018" y="44"/>
                      </a:lnTo>
                      <a:lnTo>
                        <a:pt x="1978" y="14"/>
                      </a:lnTo>
                      <a:lnTo>
                        <a:pt x="1916" y="2"/>
                      </a:lnTo>
                      <a:lnTo>
                        <a:pt x="1850" y="0"/>
                      </a:lnTo>
                      <a:lnTo>
                        <a:pt x="1850" y="0"/>
                      </a:lnTo>
                      <a:lnTo>
                        <a:pt x="1832" y="0"/>
                      </a:lnTo>
                      <a:lnTo>
                        <a:pt x="1808" y="4"/>
                      </a:lnTo>
                      <a:lnTo>
                        <a:pt x="1778" y="8"/>
                      </a:lnTo>
                      <a:lnTo>
                        <a:pt x="1742" y="16"/>
                      </a:lnTo>
                      <a:lnTo>
                        <a:pt x="1702" y="28"/>
                      </a:lnTo>
                      <a:lnTo>
                        <a:pt x="1656" y="46"/>
                      </a:lnTo>
                      <a:lnTo>
                        <a:pt x="1606" y="66"/>
                      </a:lnTo>
                      <a:lnTo>
                        <a:pt x="1606" y="66"/>
                      </a:lnTo>
                      <a:lnTo>
                        <a:pt x="1558" y="92"/>
                      </a:lnTo>
                      <a:lnTo>
                        <a:pt x="1510" y="120"/>
                      </a:lnTo>
                      <a:lnTo>
                        <a:pt x="1466" y="152"/>
                      </a:lnTo>
                      <a:lnTo>
                        <a:pt x="1424" y="184"/>
                      </a:lnTo>
                      <a:lnTo>
                        <a:pt x="1382" y="222"/>
                      </a:lnTo>
                      <a:lnTo>
                        <a:pt x="1342" y="260"/>
                      </a:lnTo>
                      <a:lnTo>
                        <a:pt x="1302" y="304"/>
                      </a:lnTo>
                      <a:lnTo>
                        <a:pt x="1264" y="350"/>
                      </a:lnTo>
                      <a:lnTo>
                        <a:pt x="1264" y="350"/>
                      </a:lnTo>
                      <a:lnTo>
                        <a:pt x="1234" y="388"/>
                      </a:lnTo>
                      <a:lnTo>
                        <a:pt x="1204" y="430"/>
                      </a:lnTo>
                      <a:lnTo>
                        <a:pt x="1176" y="472"/>
                      </a:lnTo>
                      <a:lnTo>
                        <a:pt x="1152" y="514"/>
                      </a:lnTo>
                      <a:lnTo>
                        <a:pt x="1110" y="590"/>
                      </a:lnTo>
                      <a:lnTo>
                        <a:pt x="1080" y="646"/>
                      </a:lnTo>
                      <a:lnTo>
                        <a:pt x="1080" y="646"/>
                      </a:lnTo>
                      <a:lnTo>
                        <a:pt x="1074" y="644"/>
                      </a:lnTo>
                      <a:lnTo>
                        <a:pt x="1074" y="644"/>
                      </a:lnTo>
                      <a:lnTo>
                        <a:pt x="1068" y="632"/>
                      </a:lnTo>
                      <a:lnTo>
                        <a:pt x="1060" y="618"/>
                      </a:lnTo>
                      <a:lnTo>
                        <a:pt x="1060" y="618"/>
                      </a:lnTo>
                      <a:lnTo>
                        <a:pt x="1064" y="610"/>
                      </a:lnTo>
                      <a:lnTo>
                        <a:pt x="1066" y="602"/>
                      </a:lnTo>
                      <a:lnTo>
                        <a:pt x="1066" y="602"/>
                      </a:lnTo>
                      <a:lnTo>
                        <a:pt x="1064" y="592"/>
                      </a:lnTo>
                      <a:lnTo>
                        <a:pt x="1060" y="586"/>
                      </a:lnTo>
                      <a:lnTo>
                        <a:pt x="1052" y="580"/>
                      </a:lnTo>
                      <a:lnTo>
                        <a:pt x="1042" y="578"/>
                      </a:lnTo>
                      <a:lnTo>
                        <a:pt x="1042" y="578"/>
                      </a:lnTo>
                      <a:lnTo>
                        <a:pt x="1040" y="580"/>
                      </a:lnTo>
                      <a:lnTo>
                        <a:pt x="1042" y="574"/>
                      </a:lnTo>
                      <a:lnTo>
                        <a:pt x="1036" y="574"/>
                      </a:lnTo>
                      <a:lnTo>
                        <a:pt x="1032" y="574"/>
                      </a:lnTo>
                      <a:lnTo>
                        <a:pt x="1032" y="574"/>
                      </a:lnTo>
                      <a:lnTo>
                        <a:pt x="1024" y="568"/>
                      </a:lnTo>
                      <a:lnTo>
                        <a:pt x="1024" y="568"/>
                      </a:lnTo>
                      <a:lnTo>
                        <a:pt x="1022" y="568"/>
                      </a:lnTo>
                      <a:lnTo>
                        <a:pt x="1018" y="570"/>
                      </a:lnTo>
                      <a:lnTo>
                        <a:pt x="1012" y="570"/>
                      </a:lnTo>
                      <a:lnTo>
                        <a:pt x="1014" y="574"/>
                      </a:lnTo>
                      <a:lnTo>
                        <a:pt x="1008" y="574"/>
                      </a:lnTo>
                      <a:lnTo>
                        <a:pt x="1004" y="574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0" y="578"/>
                      </a:lnTo>
                      <a:lnTo>
                        <a:pt x="1000" y="578"/>
                      </a:lnTo>
                      <a:lnTo>
                        <a:pt x="990" y="580"/>
                      </a:lnTo>
                      <a:lnTo>
                        <a:pt x="982" y="586"/>
                      </a:lnTo>
                      <a:lnTo>
                        <a:pt x="978" y="592"/>
                      </a:lnTo>
                      <a:lnTo>
                        <a:pt x="976" y="602"/>
                      </a:lnTo>
                      <a:lnTo>
                        <a:pt x="976" y="602"/>
                      </a:lnTo>
                      <a:lnTo>
                        <a:pt x="978" y="608"/>
                      </a:lnTo>
                      <a:lnTo>
                        <a:pt x="980" y="616"/>
                      </a:lnTo>
                      <a:lnTo>
                        <a:pt x="980" y="616"/>
                      </a:lnTo>
                      <a:lnTo>
                        <a:pt x="970" y="632"/>
                      </a:lnTo>
                      <a:lnTo>
                        <a:pt x="964" y="644"/>
                      </a:lnTo>
                      <a:lnTo>
                        <a:pt x="964" y="644"/>
                      </a:lnTo>
                      <a:lnTo>
                        <a:pt x="958" y="646"/>
                      </a:lnTo>
                      <a:lnTo>
                        <a:pt x="958" y="646"/>
                      </a:lnTo>
                      <a:lnTo>
                        <a:pt x="928" y="590"/>
                      </a:lnTo>
                      <a:lnTo>
                        <a:pt x="886" y="514"/>
                      </a:lnTo>
                      <a:lnTo>
                        <a:pt x="860" y="472"/>
                      </a:lnTo>
                      <a:lnTo>
                        <a:pt x="834" y="430"/>
                      </a:lnTo>
                      <a:lnTo>
                        <a:pt x="804" y="388"/>
                      </a:lnTo>
                      <a:lnTo>
                        <a:pt x="774" y="350"/>
                      </a:lnTo>
                      <a:lnTo>
                        <a:pt x="774" y="350"/>
                      </a:lnTo>
                      <a:lnTo>
                        <a:pt x="736" y="304"/>
                      </a:lnTo>
                      <a:lnTo>
                        <a:pt x="696" y="260"/>
                      </a:lnTo>
                      <a:lnTo>
                        <a:pt x="656" y="222"/>
                      </a:lnTo>
                      <a:lnTo>
                        <a:pt x="614" y="184"/>
                      </a:lnTo>
                      <a:lnTo>
                        <a:pt x="572" y="152"/>
                      </a:lnTo>
                      <a:lnTo>
                        <a:pt x="528" y="120"/>
                      </a:lnTo>
                      <a:lnTo>
                        <a:pt x="480" y="92"/>
                      </a:lnTo>
                      <a:lnTo>
                        <a:pt x="432" y="66"/>
                      </a:lnTo>
                      <a:lnTo>
                        <a:pt x="432" y="66"/>
                      </a:lnTo>
                      <a:lnTo>
                        <a:pt x="382" y="46"/>
                      </a:lnTo>
                      <a:lnTo>
                        <a:pt x="336" y="28"/>
                      </a:lnTo>
                      <a:lnTo>
                        <a:pt x="296" y="16"/>
                      </a:lnTo>
                      <a:lnTo>
                        <a:pt x="260" y="8"/>
                      </a:lnTo>
                      <a:lnTo>
                        <a:pt x="230" y="4"/>
                      </a:lnTo>
                      <a:lnTo>
                        <a:pt x="206" y="0"/>
                      </a:lnTo>
                      <a:lnTo>
                        <a:pt x="188" y="0"/>
                      </a:lnTo>
                      <a:lnTo>
                        <a:pt x="122" y="2"/>
                      </a:lnTo>
                      <a:lnTo>
                        <a:pt x="60" y="14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4"/>
                      </a:lnTo>
                      <a:lnTo>
                        <a:pt x="10" y="156"/>
                      </a:lnTo>
                      <a:lnTo>
                        <a:pt x="32" y="202"/>
                      </a:lnTo>
                      <a:lnTo>
                        <a:pt x="32" y="202"/>
                      </a:lnTo>
                      <a:lnTo>
                        <a:pt x="42" y="218"/>
                      </a:lnTo>
                      <a:lnTo>
                        <a:pt x="54" y="232"/>
                      </a:lnTo>
                      <a:lnTo>
                        <a:pt x="58" y="236"/>
                      </a:lnTo>
                      <a:lnTo>
                        <a:pt x="64" y="240"/>
                      </a:lnTo>
                      <a:lnTo>
                        <a:pt x="64" y="240"/>
                      </a:lnTo>
                      <a:lnTo>
                        <a:pt x="68" y="242"/>
                      </a:lnTo>
                      <a:lnTo>
                        <a:pt x="72" y="246"/>
                      </a:lnTo>
                      <a:lnTo>
                        <a:pt x="78" y="258"/>
                      </a:lnTo>
                      <a:lnTo>
                        <a:pt x="82" y="272"/>
                      </a:lnTo>
                      <a:lnTo>
                        <a:pt x="82" y="272"/>
                      </a:lnTo>
                      <a:lnTo>
                        <a:pt x="90" y="286"/>
                      </a:lnTo>
                      <a:lnTo>
                        <a:pt x="100" y="298"/>
                      </a:lnTo>
                      <a:lnTo>
                        <a:pt x="108" y="302"/>
                      </a:lnTo>
                      <a:lnTo>
                        <a:pt x="114" y="308"/>
                      </a:lnTo>
                      <a:lnTo>
                        <a:pt x="114" y="308"/>
                      </a:lnTo>
                      <a:lnTo>
                        <a:pt x="122" y="312"/>
                      </a:lnTo>
                      <a:lnTo>
                        <a:pt x="128" y="318"/>
                      </a:lnTo>
                      <a:lnTo>
                        <a:pt x="140" y="332"/>
                      </a:lnTo>
                      <a:lnTo>
                        <a:pt x="150" y="348"/>
                      </a:lnTo>
                      <a:lnTo>
                        <a:pt x="154" y="358"/>
                      </a:lnTo>
                      <a:lnTo>
                        <a:pt x="154" y="358"/>
                      </a:lnTo>
                      <a:lnTo>
                        <a:pt x="156" y="364"/>
                      </a:lnTo>
                      <a:lnTo>
                        <a:pt x="158" y="370"/>
                      </a:lnTo>
                      <a:lnTo>
                        <a:pt x="170" y="384"/>
                      </a:lnTo>
                      <a:lnTo>
                        <a:pt x="186" y="404"/>
                      </a:lnTo>
                      <a:lnTo>
                        <a:pt x="186" y="404"/>
                      </a:lnTo>
                      <a:lnTo>
                        <a:pt x="190" y="428"/>
                      </a:lnTo>
                      <a:lnTo>
                        <a:pt x="192" y="446"/>
                      </a:lnTo>
                      <a:lnTo>
                        <a:pt x="192" y="452"/>
                      </a:lnTo>
                      <a:lnTo>
                        <a:pt x="190" y="458"/>
                      </a:lnTo>
                      <a:lnTo>
                        <a:pt x="190" y="458"/>
                      </a:lnTo>
                      <a:lnTo>
                        <a:pt x="188" y="462"/>
                      </a:lnTo>
                      <a:lnTo>
                        <a:pt x="188" y="466"/>
                      </a:lnTo>
                      <a:lnTo>
                        <a:pt x="194" y="474"/>
                      </a:lnTo>
                      <a:lnTo>
                        <a:pt x="206" y="484"/>
                      </a:lnTo>
                      <a:lnTo>
                        <a:pt x="206" y="484"/>
                      </a:lnTo>
                      <a:lnTo>
                        <a:pt x="210" y="488"/>
                      </a:lnTo>
                      <a:lnTo>
                        <a:pt x="214" y="498"/>
                      </a:lnTo>
                      <a:lnTo>
                        <a:pt x="216" y="506"/>
                      </a:lnTo>
                      <a:lnTo>
                        <a:pt x="218" y="512"/>
                      </a:lnTo>
                      <a:lnTo>
                        <a:pt x="218" y="518"/>
                      </a:lnTo>
                      <a:lnTo>
                        <a:pt x="214" y="526"/>
                      </a:lnTo>
                      <a:lnTo>
                        <a:pt x="214" y="526"/>
                      </a:lnTo>
                      <a:lnTo>
                        <a:pt x="212" y="532"/>
                      </a:lnTo>
                      <a:lnTo>
                        <a:pt x="212" y="542"/>
                      </a:lnTo>
                      <a:lnTo>
                        <a:pt x="214" y="552"/>
                      </a:lnTo>
                      <a:lnTo>
                        <a:pt x="218" y="562"/>
                      </a:lnTo>
                      <a:lnTo>
                        <a:pt x="228" y="580"/>
                      </a:lnTo>
                      <a:lnTo>
                        <a:pt x="232" y="586"/>
                      </a:lnTo>
                      <a:lnTo>
                        <a:pt x="236" y="590"/>
                      </a:lnTo>
                      <a:lnTo>
                        <a:pt x="236" y="590"/>
                      </a:lnTo>
                      <a:lnTo>
                        <a:pt x="238" y="594"/>
                      </a:lnTo>
                      <a:lnTo>
                        <a:pt x="242" y="598"/>
                      </a:lnTo>
                      <a:lnTo>
                        <a:pt x="246" y="612"/>
                      </a:lnTo>
                      <a:lnTo>
                        <a:pt x="250" y="628"/>
                      </a:lnTo>
                      <a:lnTo>
                        <a:pt x="250" y="628"/>
                      </a:lnTo>
                      <a:lnTo>
                        <a:pt x="252" y="632"/>
                      </a:lnTo>
                      <a:lnTo>
                        <a:pt x="254" y="642"/>
                      </a:lnTo>
                      <a:lnTo>
                        <a:pt x="264" y="656"/>
                      </a:lnTo>
                      <a:lnTo>
                        <a:pt x="278" y="678"/>
                      </a:lnTo>
                      <a:lnTo>
                        <a:pt x="278" y="678"/>
                      </a:lnTo>
                      <a:lnTo>
                        <a:pt x="294" y="698"/>
                      </a:lnTo>
                      <a:lnTo>
                        <a:pt x="304" y="712"/>
                      </a:lnTo>
                      <a:lnTo>
                        <a:pt x="316" y="734"/>
                      </a:lnTo>
                      <a:lnTo>
                        <a:pt x="316" y="734"/>
                      </a:lnTo>
                      <a:lnTo>
                        <a:pt x="320" y="740"/>
                      </a:lnTo>
                      <a:lnTo>
                        <a:pt x="326" y="744"/>
                      </a:lnTo>
                      <a:lnTo>
                        <a:pt x="344" y="752"/>
                      </a:lnTo>
                      <a:lnTo>
                        <a:pt x="364" y="760"/>
                      </a:lnTo>
                      <a:lnTo>
                        <a:pt x="414" y="768"/>
                      </a:lnTo>
                      <a:lnTo>
                        <a:pt x="468" y="768"/>
                      </a:lnTo>
                      <a:lnTo>
                        <a:pt x="516" y="768"/>
                      </a:lnTo>
                      <a:lnTo>
                        <a:pt x="584" y="772"/>
                      </a:lnTo>
                      <a:lnTo>
                        <a:pt x="626" y="778"/>
                      </a:lnTo>
                      <a:lnTo>
                        <a:pt x="628" y="780"/>
                      </a:lnTo>
                      <a:lnTo>
                        <a:pt x="628" y="780"/>
                      </a:lnTo>
                      <a:lnTo>
                        <a:pt x="596" y="796"/>
                      </a:lnTo>
                      <a:lnTo>
                        <a:pt x="568" y="814"/>
                      </a:lnTo>
                      <a:lnTo>
                        <a:pt x="542" y="832"/>
                      </a:lnTo>
                      <a:lnTo>
                        <a:pt x="518" y="850"/>
                      </a:lnTo>
                      <a:lnTo>
                        <a:pt x="518" y="850"/>
                      </a:lnTo>
                      <a:lnTo>
                        <a:pt x="472" y="890"/>
                      </a:lnTo>
                      <a:lnTo>
                        <a:pt x="442" y="918"/>
                      </a:lnTo>
                      <a:lnTo>
                        <a:pt x="422" y="938"/>
                      </a:lnTo>
                      <a:lnTo>
                        <a:pt x="414" y="952"/>
                      </a:lnTo>
                      <a:lnTo>
                        <a:pt x="412" y="958"/>
                      </a:lnTo>
                      <a:lnTo>
                        <a:pt x="416" y="962"/>
                      </a:lnTo>
                      <a:lnTo>
                        <a:pt x="418" y="962"/>
                      </a:lnTo>
                      <a:lnTo>
                        <a:pt x="420" y="962"/>
                      </a:lnTo>
                      <a:lnTo>
                        <a:pt x="430" y="996"/>
                      </a:lnTo>
                      <a:lnTo>
                        <a:pt x="430" y="996"/>
                      </a:lnTo>
                      <a:lnTo>
                        <a:pt x="438" y="1020"/>
                      </a:lnTo>
                      <a:lnTo>
                        <a:pt x="446" y="1044"/>
                      </a:lnTo>
                      <a:lnTo>
                        <a:pt x="458" y="1074"/>
                      </a:lnTo>
                      <a:lnTo>
                        <a:pt x="474" y="1102"/>
                      </a:lnTo>
                      <a:lnTo>
                        <a:pt x="490" y="1130"/>
                      </a:lnTo>
                      <a:lnTo>
                        <a:pt x="500" y="1142"/>
                      </a:lnTo>
                      <a:lnTo>
                        <a:pt x="510" y="1152"/>
                      </a:lnTo>
                      <a:lnTo>
                        <a:pt x="520" y="1160"/>
                      </a:lnTo>
                      <a:lnTo>
                        <a:pt x="530" y="1166"/>
                      </a:lnTo>
                      <a:lnTo>
                        <a:pt x="530" y="1166"/>
                      </a:lnTo>
                      <a:lnTo>
                        <a:pt x="548" y="1174"/>
                      </a:lnTo>
                      <a:lnTo>
                        <a:pt x="560" y="1184"/>
                      </a:lnTo>
                      <a:lnTo>
                        <a:pt x="568" y="1194"/>
                      </a:lnTo>
                      <a:lnTo>
                        <a:pt x="572" y="1204"/>
                      </a:lnTo>
                      <a:lnTo>
                        <a:pt x="574" y="1214"/>
                      </a:lnTo>
                      <a:lnTo>
                        <a:pt x="574" y="1222"/>
                      </a:lnTo>
                      <a:lnTo>
                        <a:pt x="574" y="1228"/>
                      </a:lnTo>
                      <a:lnTo>
                        <a:pt x="574" y="1228"/>
                      </a:lnTo>
                      <a:lnTo>
                        <a:pt x="578" y="1236"/>
                      </a:lnTo>
                      <a:lnTo>
                        <a:pt x="588" y="1256"/>
                      </a:lnTo>
                      <a:lnTo>
                        <a:pt x="596" y="1268"/>
                      </a:lnTo>
                      <a:lnTo>
                        <a:pt x="604" y="1278"/>
                      </a:lnTo>
                      <a:lnTo>
                        <a:pt x="616" y="1284"/>
                      </a:lnTo>
                      <a:lnTo>
                        <a:pt x="626" y="1288"/>
                      </a:lnTo>
                      <a:lnTo>
                        <a:pt x="626" y="1288"/>
                      </a:lnTo>
                      <a:lnTo>
                        <a:pt x="632" y="1290"/>
                      </a:lnTo>
                      <a:lnTo>
                        <a:pt x="638" y="1294"/>
                      </a:lnTo>
                      <a:lnTo>
                        <a:pt x="642" y="1300"/>
                      </a:lnTo>
                      <a:lnTo>
                        <a:pt x="646" y="1306"/>
                      </a:lnTo>
                      <a:lnTo>
                        <a:pt x="652" y="1322"/>
                      </a:lnTo>
                      <a:lnTo>
                        <a:pt x="656" y="1340"/>
                      </a:lnTo>
                      <a:lnTo>
                        <a:pt x="660" y="1374"/>
                      </a:lnTo>
                      <a:lnTo>
                        <a:pt x="662" y="1388"/>
                      </a:lnTo>
                      <a:lnTo>
                        <a:pt x="662" y="1388"/>
                      </a:lnTo>
                      <a:lnTo>
                        <a:pt x="662" y="1404"/>
                      </a:lnTo>
                      <a:lnTo>
                        <a:pt x="660" y="1420"/>
                      </a:lnTo>
                      <a:lnTo>
                        <a:pt x="656" y="1442"/>
                      </a:lnTo>
                      <a:lnTo>
                        <a:pt x="650" y="1464"/>
                      </a:lnTo>
                      <a:lnTo>
                        <a:pt x="642" y="1486"/>
                      </a:lnTo>
                      <a:lnTo>
                        <a:pt x="636" y="1498"/>
                      </a:lnTo>
                      <a:lnTo>
                        <a:pt x="630" y="1508"/>
                      </a:lnTo>
                      <a:lnTo>
                        <a:pt x="622" y="1518"/>
                      </a:lnTo>
                      <a:lnTo>
                        <a:pt x="612" y="1528"/>
                      </a:lnTo>
                      <a:lnTo>
                        <a:pt x="612" y="1528"/>
                      </a:lnTo>
                      <a:lnTo>
                        <a:pt x="596" y="1544"/>
                      </a:lnTo>
                      <a:lnTo>
                        <a:pt x="582" y="1558"/>
                      </a:lnTo>
                      <a:lnTo>
                        <a:pt x="562" y="1580"/>
                      </a:lnTo>
                      <a:lnTo>
                        <a:pt x="550" y="1596"/>
                      </a:lnTo>
                      <a:lnTo>
                        <a:pt x="548" y="1602"/>
                      </a:lnTo>
                      <a:lnTo>
                        <a:pt x="548" y="1602"/>
                      </a:lnTo>
                      <a:lnTo>
                        <a:pt x="538" y="1616"/>
                      </a:lnTo>
                      <a:lnTo>
                        <a:pt x="530" y="1632"/>
                      </a:lnTo>
                      <a:lnTo>
                        <a:pt x="522" y="1652"/>
                      </a:lnTo>
                      <a:lnTo>
                        <a:pt x="522" y="1652"/>
                      </a:lnTo>
                      <a:lnTo>
                        <a:pt x="518" y="1676"/>
                      </a:lnTo>
                      <a:lnTo>
                        <a:pt x="516" y="1698"/>
                      </a:lnTo>
                      <a:lnTo>
                        <a:pt x="518" y="1716"/>
                      </a:lnTo>
                      <a:lnTo>
                        <a:pt x="520" y="1724"/>
                      </a:lnTo>
                      <a:lnTo>
                        <a:pt x="522" y="1732"/>
                      </a:lnTo>
                      <a:lnTo>
                        <a:pt x="522" y="1732"/>
                      </a:lnTo>
                      <a:lnTo>
                        <a:pt x="526" y="1736"/>
                      </a:lnTo>
                      <a:lnTo>
                        <a:pt x="532" y="1738"/>
                      </a:lnTo>
                      <a:lnTo>
                        <a:pt x="538" y="1738"/>
                      </a:lnTo>
                      <a:lnTo>
                        <a:pt x="544" y="1738"/>
                      </a:lnTo>
                      <a:lnTo>
                        <a:pt x="554" y="1734"/>
                      </a:lnTo>
                      <a:lnTo>
                        <a:pt x="558" y="1732"/>
                      </a:lnTo>
                      <a:lnTo>
                        <a:pt x="640" y="1640"/>
                      </a:lnTo>
                      <a:lnTo>
                        <a:pt x="636" y="1610"/>
                      </a:lnTo>
                      <a:lnTo>
                        <a:pt x="636" y="1610"/>
                      </a:lnTo>
                      <a:lnTo>
                        <a:pt x="648" y="1598"/>
                      </a:lnTo>
                      <a:lnTo>
                        <a:pt x="658" y="1590"/>
                      </a:lnTo>
                      <a:lnTo>
                        <a:pt x="664" y="1588"/>
                      </a:lnTo>
                      <a:lnTo>
                        <a:pt x="670" y="1586"/>
                      </a:lnTo>
                      <a:lnTo>
                        <a:pt x="670" y="1586"/>
                      </a:lnTo>
                      <a:lnTo>
                        <a:pt x="678" y="1582"/>
                      </a:lnTo>
                      <a:lnTo>
                        <a:pt x="684" y="1578"/>
                      </a:lnTo>
                      <a:lnTo>
                        <a:pt x="698" y="1562"/>
                      </a:lnTo>
                      <a:lnTo>
                        <a:pt x="712" y="1538"/>
                      </a:lnTo>
                      <a:lnTo>
                        <a:pt x="712" y="1538"/>
                      </a:lnTo>
                      <a:lnTo>
                        <a:pt x="732" y="1520"/>
                      </a:lnTo>
                      <a:lnTo>
                        <a:pt x="752" y="1500"/>
                      </a:lnTo>
                      <a:lnTo>
                        <a:pt x="770" y="1476"/>
                      </a:lnTo>
                      <a:lnTo>
                        <a:pt x="770" y="1476"/>
                      </a:lnTo>
                      <a:lnTo>
                        <a:pt x="790" y="1446"/>
                      </a:lnTo>
                      <a:lnTo>
                        <a:pt x="812" y="1410"/>
                      </a:lnTo>
                      <a:lnTo>
                        <a:pt x="830" y="1374"/>
                      </a:lnTo>
                      <a:lnTo>
                        <a:pt x="836" y="1356"/>
                      </a:lnTo>
                      <a:lnTo>
                        <a:pt x="840" y="1342"/>
                      </a:lnTo>
                      <a:lnTo>
                        <a:pt x="840" y="1342"/>
                      </a:lnTo>
                      <a:lnTo>
                        <a:pt x="854" y="1266"/>
                      </a:lnTo>
                      <a:lnTo>
                        <a:pt x="878" y="1136"/>
                      </a:lnTo>
                      <a:lnTo>
                        <a:pt x="890" y="1070"/>
                      </a:lnTo>
                      <a:lnTo>
                        <a:pt x="904" y="1014"/>
                      </a:lnTo>
                      <a:lnTo>
                        <a:pt x="910" y="992"/>
                      </a:lnTo>
                      <a:lnTo>
                        <a:pt x="916" y="974"/>
                      </a:lnTo>
                      <a:lnTo>
                        <a:pt x="922" y="964"/>
                      </a:lnTo>
                      <a:lnTo>
                        <a:pt x="924" y="960"/>
                      </a:lnTo>
                      <a:lnTo>
                        <a:pt x="926" y="960"/>
                      </a:lnTo>
                      <a:lnTo>
                        <a:pt x="926" y="960"/>
                      </a:lnTo>
                      <a:lnTo>
                        <a:pt x="932" y="958"/>
                      </a:lnTo>
                      <a:lnTo>
                        <a:pt x="938" y="954"/>
                      </a:lnTo>
                      <a:lnTo>
                        <a:pt x="950" y="942"/>
                      </a:lnTo>
                      <a:lnTo>
                        <a:pt x="964" y="926"/>
                      </a:lnTo>
                      <a:lnTo>
                        <a:pt x="976" y="908"/>
                      </a:lnTo>
                      <a:lnTo>
                        <a:pt x="968" y="972"/>
                      </a:lnTo>
                      <a:lnTo>
                        <a:pt x="972" y="994"/>
                      </a:lnTo>
                      <a:lnTo>
                        <a:pt x="962" y="1022"/>
                      </a:lnTo>
                      <a:lnTo>
                        <a:pt x="962" y="1068"/>
                      </a:lnTo>
                      <a:lnTo>
                        <a:pt x="962" y="1080"/>
                      </a:lnTo>
                      <a:lnTo>
                        <a:pt x="962" y="1146"/>
                      </a:lnTo>
                      <a:lnTo>
                        <a:pt x="972" y="1150"/>
                      </a:lnTo>
                      <a:lnTo>
                        <a:pt x="972" y="1160"/>
                      </a:lnTo>
                      <a:lnTo>
                        <a:pt x="962" y="1170"/>
                      </a:lnTo>
                      <a:lnTo>
                        <a:pt x="964" y="1202"/>
                      </a:lnTo>
                      <a:lnTo>
                        <a:pt x="964" y="1252"/>
                      </a:lnTo>
                      <a:lnTo>
                        <a:pt x="984" y="1294"/>
                      </a:lnTo>
                      <a:lnTo>
                        <a:pt x="1016" y="1320"/>
                      </a:lnTo>
                      <a:lnTo>
                        <a:pt x="1018" y="1292"/>
                      </a:lnTo>
                      <a:lnTo>
                        <a:pt x="1022" y="1320"/>
                      </a:lnTo>
                      <a:lnTo>
                        <a:pt x="1054" y="1294"/>
                      </a:lnTo>
                      <a:lnTo>
                        <a:pt x="1074" y="1252"/>
                      </a:lnTo>
                      <a:lnTo>
                        <a:pt x="1074" y="1202"/>
                      </a:lnTo>
                      <a:lnTo>
                        <a:pt x="1076" y="1170"/>
                      </a:lnTo>
                      <a:lnTo>
                        <a:pt x="1066" y="1160"/>
                      </a:lnTo>
                      <a:lnTo>
                        <a:pt x="1066" y="1150"/>
                      </a:lnTo>
                      <a:lnTo>
                        <a:pt x="1076" y="1146"/>
                      </a:lnTo>
                      <a:lnTo>
                        <a:pt x="1076" y="1080"/>
                      </a:lnTo>
                      <a:lnTo>
                        <a:pt x="1076" y="1068"/>
                      </a:lnTo>
                      <a:lnTo>
                        <a:pt x="1076" y="1022"/>
                      </a:lnTo>
                      <a:lnTo>
                        <a:pt x="1066" y="994"/>
                      </a:lnTo>
                      <a:lnTo>
                        <a:pt x="1068" y="972"/>
                      </a:lnTo>
                      <a:lnTo>
                        <a:pt x="1062" y="908"/>
                      </a:lnTo>
                      <a:lnTo>
                        <a:pt x="1062" y="908"/>
                      </a:lnTo>
                      <a:lnTo>
                        <a:pt x="1074" y="926"/>
                      </a:lnTo>
                      <a:lnTo>
                        <a:pt x="1088" y="942"/>
                      </a:lnTo>
                      <a:lnTo>
                        <a:pt x="1100" y="954"/>
                      </a:lnTo>
                      <a:lnTo>
                        <a:pt x="1106" y="958"/>
                      </a:lnTo>
                      <a:lnTo>
                        <a:pt x="1112" y="960"/>
                      </a:lnTo>
                      <a:lnTo>
                        <a:pt x="1112" y="960"/>
                      </a:lnTo>
                      <a:lnTo>
                        <a:pt x="1114" y="960"/>
                      </a:lnTo>
                      <a:lnTo>
                        <a:pt x="1116" y="964"/>
                      </a:lnTo>
                      <a:lnTo>
                        <a:pt x="1122" y="974"/>
                      </a:lnTo>
                      <a:lnTo>
                        <a:pt x="1128" y="992"/>
                      </a:lnTo>
                      <a:lnTo>
                        <a:pt x="1134" y="1014"/>
                      </a:lnTo>
                      <a:lnTo>
                        <a:pt x="1148" y="1070"/>
                      </a:lnTo>
                      <a:lnTo>
                        <a:pt x="1160" y="1136"/>
                      </a:lnTo>
                      <a:lnTo>
                        <a:pt x="1184" y="1266"/>
                      </a:lnTo>
                      <a:lnTo>
                        <a:pt x="1198" y="1342"/>
                      </a:lnTo>
                      <a:lnTo>
                        <a:pt x="1198" y="1342"/>
                      </a:lnTo>
                      <a:lnTo>
                        <a:pt x="1202" y="1356"/>
                      </a:lnTo>
                      <a:lnTo>
                        <a:pt x="1208" y="1374"/>
                      </a:lnTo>
                      <a:lnTo>
                        <a:pt x="1226" y="1410"/>
                      </a:lnTo>
                      <a:lnTo>
                        <a:pt x="1248" y="1446"/>
                      </a:lnTo>
                      <a:lnTo>
                        <a:pt x="1268" y="1476"/>
                      </a:lnTo>
                      <a:lnTo>
                        <a:pt x="1268" y="1476"/>
                      </a:lnTo>
                      <a:lnTo>
                        <a:pt x="1286" y="1500"/>
                      </a:lnTo>
                      <a:lnTo>
                        <a:pt x="1304" y="1520"/>
                      </a:lnTo>
                      <a:lnTo>
                        <a:pt x="1326" y="1538"/>
                      </a:lnTo>
                      <a:lnTo>
                        <a:pt x="1326" y="1538"/>
                      </a:lnTo>
                      <a:lnTo>
                        <a:pt x="1340" y="1562"/>
                      </a:lnTo>
                      <a:lnTo>
                        <a:pt x="1354" y="1578"/>
                      </a:lnTo>
                      <a:lnTo>
                        <a:pt x="1360" y="1582"/>
                      </a:lnTo>
                      <a:lnTo>
                        <a:pt x="1366" y="1586"/>
                      </a:lnTo>
                      <a:lnTo>
                        <a:pt x="1366" y="1586"/>
                      </a:lnTo>
                      <a:lnTo>
                        <a:pt x="1374" y="1588"/>
                      </a:lnTo>
                      <a:lnTo>
                        <a:pt x="1380" y="1590"/>
                      </a:lnTo>
                      <a:lnTo>
                        <a:pt x="1390" y="1598"/>
                      </a:lnTo>
                      <a:lnTo>
                        <a:pt x="1402" y="1610"/>
                      </a:lnTo>
                      <a:lnTo>
                        <a:pt x="1398" y="1640"/>
                      </a:lnTo>
                      <a:lnTo>
                        <a:pt x="1480" y="1732"/>
                      </a:lnTo>
                      <a:lnTo>
                        <a:pt x="1480" y="1732"/>
                      </a:lnTo>
                      <a:lnTo>
                        <a:pt x="1484" y="1734"/>
                      </a:lnTo>
                      <a:lnTo>
                        <a:pt x="1494" y="1738"/>
                      </a:lnTo>
                      <a:lnTo>
                        <a:pt x="1500" y="1738"/>
                      </a:lnTo>
                      <a:lnTo>
                        <a:pt x="1506" y="1738"/>
                      </a:lnTo>
                      <a:lnTo>
                        <a:pt x="1512" y="1736"/>
                      </a:lnTo>
                      <a:lnTo>
                        <a:pt x="1516" y="1732"/>
                      </a:lnTo>
                      <a:lnTo>
                        <a:pt x="1516" y="1732"/>
                      </a:lnTo>
                      <a:lnTo>
                        <a:pt x="1518" y="1724"/>
                      </a:lnTo>
                      <a:lnTo>
                        <a:pt x="1520" y="1716"/>
                      </a:lnTo>
                      <a:lnTo>
                        <a:pt x="1522" y="1698"/>
                      </a:lnTo>
                      <a:lnTo>
                        <a:pt x="1520" y="1676"/>
                      </a:lnTo>
                      <a:lnTo>
                        <a:pt x="1516" y="1652"/>
                      </a:lnTo>
                      <a:lnTo>
                        <a:pt x="1516" y="1652"/>
                      </a:lnTo>
                      <a:lnTo>
                        <a:pt x="1508" y="1632"/>
                      </a:lnTo>
                      <a:lnTo>
                        <a:pt x="1500" y="1616"/>
                      </a:lnTo>
                      <a:lnTo>
                        <a:pt x="1490" y="1602"/>
                      </a:lnTo>
                      <a:lnTo>
                        <a:pt x="1490" y="1602"/>
                      </a:lnTo>
                      <a:lnTo>
                        <a:pt x="1486" y="1596"/>
                      </a:lnTo>
                      <a:lnTo>
                        <a:pt x="1476" y="1580"/>
                      </a:lnTo>
                      <a:lnTo>
                        <a:pt x="1456" y="1558"/>
                      </a:lnTo>
                      <a:lnTo>
                        <a:pt x="1442" y="1544"/>
                      </a:lnTo>
                      <a:lnTo>
                        <a:pt x="1424" y="1528"/>
                      </a:lnTo>
                      <a:lnTo>
                        <a:pt x="1424" y="1528"/>
                      </a:lnTo>
                      <a:lnTo>
                        <a:pt x="1416" y="1518"/>
                      </a:lnTo>
                      <a:lnTo>
                        <a:pt x="1408" y="1508"/>
                      </a:lnTo>
                      <a:lnTo>
                        <a:pt x="1402" y="1498"/>
                      </a:lnTo>
                      <a:lnTo>
                        <a:pt x="1396" y="1486"/>
                      </a:lnTo>
                      <a:lnTo>
                        <a:pt x="1386" y="1464"/>
                      </a:lnTo>
                      <a:lnTo>
                        <a:pt x="1382" y="1442"/>
                      </a:lnTo>
                      <a:lnTo>
                        <a:pt x="1378" y="1420"/>
                      </a:lnTo>
                      <a:lnTo>
                        <a:pt x="1376" y="1404"/>
                      </a:lnTo>
                      <a:lnTo>
                        <a:pt x="1376" y="1388"/>
                      </a:lnTo>
                      <a:lnTo>
                        <a:pt x="1376" y="1388"/>
                      </a:lnTo>
                      <a:lnTo>
                        <a:pt x="1378" y="1374"/>
                      </a:lnTo>
                      <a:lnTo>
                        <a:pt x="1382" y="1340"/>
                      </a:lnTo>
                      <a:lnTo>
                        <a:pt x="1386" y="1322"/>
                      </a:lnTo>
                      <a:lnTo>
                        <a:pt x="1392" y="1306"/>
                      </a:lnTo>
                      <a:lnTo>
                        <a:pt x="1396" y="1300"/>
                      </a:lnTo>
                      <a:lnTo>
                        <a:pt x="1400" y="1294"/>
                      </a:lnTo>
                      <a:lnTo>
                        <a:pt x="1406" y="1290"/>
                      </a:lnTo>
                      <a:lnTo>
                        <a:pt x="1410" y="1288"/>
                      </a:lnTo>
                      <a:lnTo>
                        <a:pt x="1410" y="1288"/>
                      </a:lnTo>
                      <a:lnTo>
                        <a:pt x="1422" y="1284"/>
                      </a:lnTo>
                      <a:lnTo>
                        <a:pt x="1432" y="1278"/>
                      </a:lnTo>
                      <a:lnTo>
                        <a:pt x="1442" y="1268"/>
                      </a:lnTo>
                      <a:lnTo>
                        <a:pt x="1450" y="1256"/>
                      </a:lnTo>
                      <a:lnTo>
                        <a:pt x="1460" y="1236"/>
                      </a:lnTo>
                      <a:lnTo>
                        <a:pt x="1464" y="1228"/>
                      </a:lnTo>
                      <a:lnTo>
                        <a:pt x="1464" y="1228"/>
                      </a:lnTo>
                      <a:lnTo>
                        <a:pt x="1464" y="1222"/>
                      </a:lnTo>
                      <a:lnTo>
                        <a:pt x="1464" y="1214"/>
                      </a:lnTo>
                      <a:lnTo>
                        <a:pt x="1466" y="1204"/>
                      </a:lnTo>
                      <a:lnTo>
                        <a:pt x="1470" y="1194"/>
                      </a:lnTo>
                      <a:lnTo>
                        <a:pt x="1478" y="1184"/>
                      </a:lnTo>
                      <a:lnTo>
                        <a:pt x="1490" y="1174"/>
                      </a:lnTo>
                      <a:lnTo>
                        <a:pt x="1508" y="1166"/>
                      </a:lnTo>
                      <a:lnTo>
                        <a:pt x="1508" y="1166"/>
                      </a:lnTo>
                      <a:lnTo>
                        <a:pt x="1518" y="1160"/>
                      </a:lnTo>
                      <a:lnTo>
                        <a:pt x="1528" y="1152"/>
                      </a:lnTo>
                      <a:lnTo>
                        <a:pt x="1538" y="1142"/>
                      </a:lnTo>
                      <a:lnTo>
                        <a:pt x="1548" y="1130"/>
                      </a:lnTo>
                      <a:lnTo>
                        <a:pt x="1564" y="1102"/>
                      </a:lnTo>
                      <a:lnTo>
                        <a:pt x="1580" y="1074"/>
                      </a:lnTo>
                      <a:lnTo>
                        <a:pt x="1592" y="1044"/>
                      </a:lnTo>
                      <a:lnTo>
                        <a:pt x="1600" y="1020"/>
                      </a:lnTo>
                      <a:lnTo>
                        <a:pt x="1608" y="996"/>
                      </a:lnTo>
                      <a:lnTo>
                        <a:pt x="1618" y="962"/>
                      </a:lnTo>
                      <a:lnTo>
                        <a:pt x="1618" y="962"/>
                      </a:lnTo>
                      <a:lnTo>
                        <a:pt x="1620" y="962"/>
                      </a:lnTo>
                      <a:lnTo>
                        <a:pt x="1622" y="962"/>
                      </a:lnTo>
                      <a:lnTo>
                        <a:pt x="1626" y="958"/>
                      </a:lnTo>
                      <a:lnTo>
                        <a:pt x="1624" y="952"/>
                      </a:lnTo>
                      <a:lnTo>
                        <a:pt x="1614" y="938"/>
                      </a:lnTo>
                      <a:lnTo>
                        <a:pt x="1596" y="918"/>
                      </a:lnTo>
                      <a:lnTo>
                        <a:pt x="1566" y="890"/>
                      </a:lnTo>
                      <a:lnTo>
                        <a:pt x="1520" y="850"/>
                      </a:lnTo>
                      <a:lnTo>
                        <a:pt x="1520" y="850"/>
                      </a:lnTo>
                      <a:lnTo>
                        <a:pt x="1496" y="832"/>
                      </a:lnTo>
                      <a:lnTo>
                        <a:pt x="1470" y="814"/>
                      </a:lnTo>
                      <a:lnTo>
                        <a:pt x="1440" y="796"/>
                      </a:lnTo>
                      <a:lnTo>
                        <a:pt x="1410" y="780"/>
                      </a:lnTo>
                      <a:lnTo>
                        <a:pt x="1412" y="778"/>
                      </a:lnTo>
                      <a:lnTo>
                        <a:pt x="1454" y="772"/>
                      </a:lnTo>
                      <a:lnTo>
                        <a:pt x="1522" y="768"/>
                      </a:lnTo>
                      <a:lnTo>
                        <a:pt x="1570" y="768"/>
                      </a:lnTo>
                      <a:lnTo>
                        <a:pt x="1624" y="768"/>
                      </a:lnTo>
                      <a:lnTo>
                        <a:pt x="1674" y="760"/>
                      </a:lnTo>
                      <a:lnTo>
                        <a:pt x="1674" y="760"/>
                      </a:lnTo>
                      <a:lnTo>
                        <a:pt x="1694" y="752"/>
                      </a:lnTo>
                      <a:lnTo>
                        <a:pt x="1710" y="744"/>
                      </a:lnTo>
                      <a:lnTo>
                        <a:pt x="1718" y="740"/>
                      </a:lnTo>
                      <a:lnTo>
                        <a:pt x="1722" y="734"/>
                      </a:lnTo>
                      <a:lnTo>
                        <a:pt x="1722" y="734"/>
                      </a:lnTo>
                      <a:lnTo>
                        <a:pt x="1734" y="712"/>
                      </a:lnTo>
                      <a:lnTo>
                        <a:pt x="1744" y="698"/>
                      </a:lnTo>
                      <a:lnTo>
                        <a:pt x="1760" y="678"/>
                      </a:lnTo>
                      <a:lnTo>
                        <a:pt x="1760" y="678"/>
                      </a:lnTo>
                      <a:lnTo>
                        <a:pt x="1774" y="656"/>
                      </a:lnTo>
                      <a:lnTo>
                        <a:pt x="1782" y="642"/>
                      </a:lnTo>
                      <a:lnTo>
                        <a:pt x="1786" y="632"/>
                      </a:lnTo>
                      <a:lnTo>
                        <a:pt x="1788" y="628"/>
                      </a:lnTo>
                      <a:lnTo>
                        <a:pt x="1788" y="628"/>
                      </a:lnTo>
                      <a:lnTo>
                        <a:pt x="1792" y="612"/>
                      </a:lnTo>
                      <a:lnTo>
                        <a:pt x="1796" y="598"/>
                      </a:lnTo>
                      <a:lnTo>
                        <a:pt x="1798" y="594"/>
                      </a:lnTo>
                      <a:lnTo>
                        <a:pt x="1802" y="590"/>
                      </a:lnTo>
                      <a:lnTo>
                        <a:pt x="1802" y="590"/>
                      </a:lnTo>
                      <a:lnTo>
                        <a:pt x="1806" y="586"/>
                      </a:lnTo>
                      <a:lnTo>
                        <a:pt x="1810" y="580"/>
                      </a:lnTo>
                      <a:lnTo>
                        <a:pt x="1820" y="562"/>
                      </a:lnTo>
                      <a:lnTo>
                        <a:pt x="1824" y="552"/>
                      </a:lnTo>
                      <a:lnTo>
                        <a:pt x="1826" y="542"/>
                      </a:lnTo>
                      <a:lnTo>
                        <a:pt x="1826" y="532"/>
                      </a:lnTo>
                      <a:lnTo>
                        <a:pt x="1822" y="526"/>
                      </a:lnTo>
                      <a:lnTo>
                        <a:pt x="1822" y="526"/>
                      </a:lnTo>
                      <a:lnTo>
                        <a:pt x="1820" y="518"/>
                      </a:lnTo>
                      <a:lnTo>
                        <a:pt x="1820" y="512"/>
                      </a:lnTo>
                      <a:lnTo>
                        <a:pt x="1820" y="506"/>
                      </a:lnTo>
                      <a:lnTo>
                        <a:pt x="1824" y="498"/>
                      </a:lnTo>
                      <a:lnTo>
                        <a:pt x="1828" y="488"/>
                      </a:lnTo>
                      <a:lnTo>
                        <a:pt x="1832" y="484"/>
                      </a:lnTo>
                      <a:lnTo>
                        <a:pt x="1832" y="484"/>
                      </a:lnTo>
                      <a:lnTo>
                        <a:pt x="1842" y="474"/>
                      </a:lnTo>
                      <a:lnTo>
                        <a:pt x="1850" y="466"/>
                      </a:lnTo>
                      <a:lnTo>
                        <a:pt x="1850" y="462"/>
                      </a:lnTo>
                      <a:lnTo>
                        <a:pt x="1848" y="458"/>
                      </a:lnTo>
                      <a:lnTo>
                        <a:pt x="1848" y="458"/>
                      </a:lnTo>
                      <a:lnTo>
                        <a:pt x="1846" y="452"/>
                      </a:lnTo>
                      <a:lnTo>
                        <a:pt x="1846" y="446"/>
                      </a:lnTo>
                      <a:lnTo>
                        <a:pt x="1848" y="428"/>
                      </a:lnTo>
                      <a:lnTo>
                        <a:pt x="1852" y="404"/>
                      </a:lnTo>
                      <a:lnTo>
                        <a:pt x="1852" y="404"/>
                      </a:lnTo>
                      <a:lnTo>
                        <a:pt x="1868" y="384"/>
                      </a:lnTo>
                      <a:lnTo>
                        <a:pt x="1880" y="370"/>
                      </a:lnTo>
                      <a:lnTo>
                        <a:pt x="1882" y="364"/>
                      </a:lnTo>
                      <a:lnTo>
                        <a:pt x="1884" y="358"/>
                      </a:lnTo>
                      <a:lnTo>
                        <a:pt x="1884" y="358"/>
                      </a:lnTo>
                      <a:lnTo>
                        <a:pt x="1888" y="348"/>
                      </a:lnTo>
                      <a:lnTo>
                        <a:pt x="1896" y="332"/>
                      </a:lnTo>
                      <a:lnTo>
                        <a:pt x="1910" y="318"/>
                      </a:lnTo>
                      <a:lnTo>
                        <a:pt x="1916" y="312"/>
                      </a:lnTo>
                      <a:lnTo>
                        <a:pt x="1924" y="308"/>
                      </a:lnTo>
                      <a:lnTo>
                        <a:pt x="1924" y="308"/>
                      </a:lnTo>
                      <a:lnTo>
                        <a:pt x="1930" y="302"/>
                      </a:lnTo>
                      <a:lnTo>
                        <a:pt x="1936" y="298"/>
                      </a:lnTo>
                      <a:lnTo>
                        <a:pt x="1946" y="286"/>
                      </a:lnTo>
                      <a:lnTo>
                        <a:pt x="1956" y="272"/>
                      </a:lnTo>
                      <a:lnTo>
                        <a:pt x="1956" y="272"/>
                      </a:lnTo>
                      <a:lnTo>
                        <a:pt x="1960" y="258"/>
                      </a:lnTo>
                      <a:lnTo>
                        <a:pt x="1966" y="246"/>
                      </a:lnTo>
                      <a:lnTo>
                        <a:pt x="1970" y="242"/>
                      </a:lnTo>
                      <a:lnTo>
                        <a:pt x="1974" y="240"/>
                      </a:lnTo>
                      <a:lnTo>
                        <a:pt x="1974" y="240"/>
                      </a:lnTo>
                      <a:lnTo>
                        <a:pt x="1980" y="236"/>
                      </a:lnTo>
                      <a:lnTo>
                        <a:pt x="1984" y="232"/>
                      </a:lnTo>
                      <a:lnTo>
                        <a:pt x="1994" y="218"/>
                      </a:lnTo>
                      <a:lnTo>
                        <a:pt x="2006" y="202"/>
                      </a:lnTo>
                      <a:lnTo>
                        <a:pt x="2028" y="156"/>
                      </a:lnTo>
                      <a:lnTo>
                        <a:pt x="2038" y="114"/>
                      </a:lnTo>
                      <a:lnTo>
                        <a:pt x="2036" y="78"/>
                      </a:lnTo>
                      <a:close/>
                      <a:moveTo>
                        <a:pt x="1014" y="582"/>
                      </a:moveTo>
                      <a:lnTo>
                        <a:pt x="1014" y="584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>
                  <a:glow rad="190500">
                    <a:schemeClr val="bg2">
                      <a:lumMod val="60000"/>
                      <a:lumOff val="40000"/>
                      <a:alpha val="11000"/>
                    </a:schemeClr>
                  </a:glow>
                  <a:softEdge rad="127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28" name="Group 177"/>
              <p:cNvGrpSpPr>
                <a:grpSpLocks noChangeAspect="1"/>
              </p:cNvGrpSpPr>
              <p:nvPr/>
            </p:nvGrpSpPr>
            <p:grpSpPr>
              <a:xfrm rot="2429339">
                <a:off x="7324516" y="3846323"/>
                <a:ext cx="1472288" cy="1142999"/>
                <a:chOff x="381000" y="3581400"/>
                <a:chExt cx="3435350" cy="2667000"/>
              </a:xfrm>
              <a:solidFill>
                <a:schemeClr val="bg2">
                  <a:lumMod val="60000"/>
                  <a:lumOff val="40000"/>
                  <a:alpha val="1000"/>
                </a:schemeClr>
              </a:solidFill>
            </p:grpSpPr>
            <p:sp>
              <p:nvSpPr>
                <p:cNvPr id="234" name="Freeform 72"/>
                <p:cNvSpPr>
                  <a:spLocks/>
                </p:cNvSpPr>
                <p:nvPr/>
              </p:nvSpPr>
              <p:spPr bwMode="auto">
                <a:xfrm>
                  <a:off x="1644650" y="4162425"/>
                  <a:ext cx="441325" cy="657225"/>
                </a:xfrm>
                <a:custGeom>
                  <a:avLst/>
                  <a:gdLst/>
                  <a:ahLst/>
                  <a:cxnLst>
                    <a:cxn ang="0">
                      <a:pos x="276" y="414"/>
                    </a:cxn>
                    <a:cxn ang="0">
                      <a:pos x="276" y="414"/>
                    </a:cxn>
                    <a:cxn ang="0">
                      <a:pos x="278" y="414"/>
                    </a:cxn>
                    <a:cxn ang="0">
                      <a:pos x="278" y="412"/>
                    </a:cxn>
                    <a:cxn ang="0">
                      <a:pos x="278" y="412"/>
                    </a:cxn>
                    <a:cxn ang="0">
                      <a:pos x="270" y="396"/>
                    </a:cxn>
                    <a:cxn ang="0">
                      <a:pos x="54" y="60"/>
                    </a:cxn>
                    <a:cxn ang="0">
                      <a:pos x="54" y="60"/>
                    </a:cxn>
                    <a:cxn ang="0">
                      <a:pos x="38" y="32"/>
                    </a:cxn>
                    <a:cxn ang="0">
                      <a:pos x="36" y="28"/>
                    </a:cxn>
                    <a:cxn ang="0">
                      <a:pos x="36" y="28"/>
                    </a:cxn>
                    <a:cxn ang="0">
                      <a:pos x="26" y="14"/>
                    </a:cxn>
                    <a:cxn ang="0">
                      <a:pos x="14" y="4"/>
                    </a:cxn>
                    <a:cxn ang="0">
                      <a:pos x="10" y="2"/>
                    </a:cxn>
                    <a:cxn ang="0">
                      <a:pos x="10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6"/>
                    </a:cxn>
                    <a:cxn ang="0">
                      <a:pos x="0" y="6"/>
                    </a:cxn>
                    <a:cxn ang="0">
                      <a:pos x="4" y="18"/>
                    </a:cxn>
                    <a:cxn ang="0">
                      <a:pos x="12" y="28"/>
                    </a:cxn>
                    <a:cxn ang="0">
                      <a:pos x="12" y="28"/>
                    </a:cxn>
                    <a:cxn ang="0">
                      <a:pos x="22" y="36"/>
                    </a:cxn>
                    <a:cxn ang="0">
                      <a:pos x="30" y="48"/>
                    </a:cxn>
                    <a:cxn ang="0">
                      <a:pos x="264" y="402"/>
                    </a:cxn>
                    <a:cxn ang="0">
                      <a:pos x="264" y="402"/>
                    </a:cxn>
                    <a:cxn ang="0">
                      <a:pos x="270" y="410"/>
                    </a:cxn>
                    <a:cxn ang="0">
                      <a:pos x="276" y="414"/>
                    </a:cxn>
                    <a:cxn ang="0">
                      <a:pos x="276" y="414"/>
                    </a:cxn>
                  </a:cxnLst>
                  <a:rect l="0" t="0" r="r" b="b"/>
                  <a:pathLst>
                    <a:path w="278" h="414">
                      <a:moveTo>
                        <a:pt x="276" y="414"/>
                      </a:moveTo>
                      <a:lnTo>
                        <a:pt x="276" y="414"/>
                      </a:lnTo>
                      <a:lnTo>
                        <a:pt x="278" y="414"/>
                      </a:lnTo>
                      <a:lnTo>
                        <a:pt x="278" y="412"/>
                      </a:lnTo>
                      <a:lnTo>
                        <a:pt x="278" y="412"/>
                      </a:lnTo>
                      <a:lnTo>
                        <a:pt x="270" y="396"/>
                      </a:lnTo>
                      <a:lnTo>
                        <a:pt x="54" y="60"/>
                      </a:lnTo>
                      <a:lnTo>
                        <a:pt x="54" y="60"/>
                      </a:lnTo>
                      <a:lnTo>
                        <a:pt x="38" y="32"/>
                      </a:lnTo>
                      <a:lnTo>
                        <a:pt x="36" y="28"/>
                      </a:lnTo>
                      <a:lnTo>
                        <a:pt x="36" y="28"/>
                      </a:lnTo>
                      <a:lnTo>
                        <a:pt x="26" y="1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1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22" y="36"/>
                      </a:lnTo>
                      <a:lnTo>
                        <a:pt x="30" y="48"/>
                      </a:lnTo>
                      <a:lnTo>
                        <a:pt x="264" y="402"/>
                      </a:lnTo>
                      <a:lnTo>
                        <a:pt x="264" y="402"/>
                      </a:lnTo>
                      <a:lnTo>
                        <a:pt x="270" y="410"/>
                      </a:lnTo>
                      <a:lnTo>
                        <a:pt x="276" y="414"/>
                      </a:lnTo>
                      <a:lnTo>
                        <a:pt x="276" y="4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5" name="Freeform 73"/>
                <p:cNvSpPr>
                  <a:spLocks/>
                </p:cNvSpPr>
                <p:nvPr/>
              </p:nvSpPr>
              <p:spPr bwMode="auto">
                <a:xfrm>
                  <a:off x="2089150" y="4835525"/>
                  <a:ext cx="1588" cy="31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6" name="Freeform 74"/>
                <p:cNvSpPr>
                  <a:spLocks/>
                </p:cNvSpPr>
                <p:nvPr/>
              </p:nvSpPr>
              <p:spPr bwMode="auto">
                <a:xfrm>
                  <a:off x="2117725" y="4162425"/>
                  <a:ext cx="444500" cy="657225"/>
                </a:xfrm>
                <a:custGeom>
                  <a:avLst/>
                  <a:gdLst/>
                  <a:ahLst/>
                  <a:cxnLst>
                    <a:cxn ang="0">
                      <a:pos x="4" y="414"/>
                    </a:cxn>
                    <a:cxn ang="0">
                      <a:pos x="4" y="414"/>
                    </a:cxn>
                    <a:cxn ang="0">
                      <a:pos x="8" y="410"/>
                    </a:cxn>
                    <a:cxn ang="0">
                      <a:pos x="16" y="402"/>
                    </a:cxn>
                    <a:cxn ang="0">
                      <a:pos x="248" y="48"/>
                    </a:cxn>
                    <a:cxn ang="0">
                      <a:pos x="248" y="48"/>
                    </a:cxn>
                    <a:cxn ang="0">
                      <a:pos x="258" y="36"/>
                    </a:cxn>
                    <a:cxn ang="0">
                      <a:pos x="266" y="28"/>
                    </a:cxn>
                    <a:cxn ang="0">
                      <a:pos x="266" y="28"/>
                    </a:cxn>
                    <a:cxn ang="0">
                      <a:pos x="274" y="18"/>
                    </a:cxn>
                    <a:cxn ang="0">
                      <a:pos x="280" y="6"/>
                    </a:cxn>
                    <a:cxn ang="0">
                      <a:pos x="280" y="6"/>
                    </a:cxn>
                    <a:cxn ang="0">
                      <a:pos x="280" y="2"/>
                    </a:cxn>
                    <a:cxn ang="0">
                      <a:pos x="278" y="0"/>
                    </a:cxn>
                    <a:cxn ang="0">
                      <a:pos x="274" y="0"/>
                    </a:cxn>
                    <a:cxn ang="0">
                      <a:pos x="268" y="2"/>
                    </a:cxn>
                    <a:cxn ang="0">
                      <a:pos x="266" y="4"/>
                    </a:cxn>
                    <a:cxn ang="0">
                      <a:pos x="266" y="4"/>
                    </a:cxn>
                    <a:cxn ang="0">
                      <a:pos x="254" y="14"/>
                    </a:cxn>
                    <a:cxn ang="0">
                      <a:pos x="244" y="28"/>
                    </a:cxn>
                    <a:cxn ang="0">
                      <a:pos x="240" y="32"/>
                    </a:cxn>
                    <a:cxn ang="0">
                      <a:pos x="240" y="32"/>
                    </a:cxn>
                    <a:cxn ang="0">
                      <a:pos x="224" y="60"/>
                    </a:cxn>
                    <a:cxn ang="0">
                      <a:pos x="10" y="396"/>
                    </a:cxn>
                    <a:cxn ang="0">
                      <a:pos x="10" y="396"/>
                    </a:cxn>
                    <a:cxn ang="0">
                      <a:pos x="0" y="412"/>
                    </a:cxn>
                    <a:cxn ang="0">
                      <a:pos x="0" y="412"/>
                    </a:cxn>
                    <a:cxn ang="0">
                      <a:pos x="0" y="414"/>
                    </a:cxn>
                    <a:cxn ang="0">
                      <a:pos x="0" y="414"/>
                    </a:cxn>
                    <a:cxn ang="0">
                      <a:pos x="4" y="414"/>
                    </a:cxn>
                    <a:cxn ang="0">
                      <a:pos x="4" y="414"/>
                    </a:cxn>
                  </a:cxnLst>
                  <a:rect l="0" t="0" r="r" b="b"/>
                  <a:pathLst>
                    <a:path w="280" h="414">
                      <a:moveTo>
                        <a:pt x="4" y="414"/>
                      </a:moveTo>
                      <a:lnTo>
                        <a:pt x="4" y="414"/>
                      </a:lnTo>
                      <a:lnTo>
                        <a:pt x="8" y="410"/>
                      </a:lnTo>
                      <a:lnTo>
                        <a:pt x="16" y="402"/>
                      </a:lnTo>
                      <a:lnTo>
                        <a:pt x="248" y="48"/>
                      </a:lnTo>
                      <a:lnTo>
                        <a:pt x="248" y="48"/>
                      </a:lnTo>
                      <a:lnTo>
                        <a:pt x="258" y="36"/>
                      </a:lnTo>
                      <a:lnTo>
                        <a:pt x="266" y="28"/>
                      </a:lnTo>
                      <a:lnTo>
                        <a:pt x="266" y="28"/>
                      </a:lnTo>
                      <a:lnTo>
                        <a:pt x="274" y="18"/>
                      </a:lnTo>
                      <a:lnTo>
                        <a:pt x="280" y="6"/>
                      </a:lnTo>
                      <a:lnTo>
                        <a:pt x="280" y="6"/>
                      </a:lnTo>
                      <a:lnTo>
                        <a:pt x="280" y="2"/>
                      </a:lnTo>
                      <a:lnTo>
                        <a:pt x="278" y="0"/>
                      </a:lnTo>
                      <a:lnTo>
                        <a:pt x="274" y="0"/>
                      </a:lnTo>
                      <a:lnTo>
                        <a:pt x="268" y="2"/>
                      </a:lnTo>
                      <a:lnTo>
                        <a:pt x="266" y="4"/>
                      </a:lnTo>
                      <a:lnTo>
                        <a:pt x="266" y="4"/>
                      </a:lnTo>
                      <a:lnTo>
                        <a:pt x="254" y="14"/>
                      </a:lnTo>
                      <a:lnTo>
                        <a:pt x="244" y="28"/>
                      </a:lnTo>
                      <a:lnTo>
                        <a:pt x="240" y="32"/>
                      </a:lnTo>
                      <a:lnTo>
                        <a:pt x="240" y="32"/>
                      </a:lnTo>
                      <a:lnTo>
                        <a:pt x="224" y="60"/>
                      </a:lnTo>
                      <a:lnTo>
                        <a:pt x="10" y="396"/>
                      </a:lnTo>
                      <a:lnTo>
                        <a:pt x="10" y="396"/>
                      </a:lnTo>
                      <a:lnTo>
                        <a:pt x="0" y="412"/>
                      </a:lnTo>
                      <a:lnTo>
                        <a:pt x="0" y="412"/>
                      </a:lnTo>
                      <a:lnTo>
                        <a:pt x="0" y="414"/>
                      </a:lnTo>
                      <a:lnTo>
                        <a:pt x="0" y="414"/>
                      </a:lnTo>
                      <a:lnTo>
                        <a:pt x="4" y="414"/>
                      </a:lnTo>
                      <a:lnTo>
                        <a:pt x="4" y="4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7" name="Freeform 75"/>
                <p:cNvSpPr>
                  <a:spLocks noEditPoints="1"/>
                </p:cNvSpPr>
                <p:nvPr/>
              </p:nvSpPr>
              <p:spPr bwMode="auto">
                <a:xfrm>
                  <a:off x="381000" y="3581400"/>
                  <a:ext cx="3435350" cy="2667000"/>
                </a:xfrm>
                <a:custGeom>
                  <a:avLst/>
                  <a:gdLst/>
                  <a:ahLst/>
                  <a:cxnLst>
                    <a:cxn ang="0">
                      <a:pos x="2160" y="44"/>
                    </a:cxn>
                    <a:cxn ang="0">
                      <a:pos x="2102" y="6"/>
                    </a:cxn>
                    <a:cxn ang="0">
                      <a:pos x="1752" y="118"/>
                    </a:cxn>
                    <a:cxn ang="0">
                      <a:pos x="1142" y="870"/>
                    </a:cxn>
                    <a:cxn ang="0">
                      <a:pos x="1126" y="832"/>
                    </a:cxn>
                    <a:cxn ang="0">
                      <a:pos x="1126" y="794"/>
                    </a:cxn>
                    <a:cxn ang="0">
                      <a:pos x="1100" y="780"/>
                    </a:cxn>
                    <a:cxn ang="0">
                      <a:pos x="1080" y="778"/>
                    </a:cxn>
                    <a:cxn ang="0">
                      <a:pos x="1068" y="788"/>
                    </a:cxn>
                    <a:cxn ang="0">
                      <a:pos x="1034" y="802"/>
                    </a:cxn>
                    <a:cxn ang="0">
                      <a:pos x="1024" y="846"/>
                    </a:cxn>
                    <a:cxn ang="0">
                      <a:pos x="690" y="370"/>
                    </a:cxn>
                    <a:cxn ang="0">
                      <a:pos x="118" y="0"/>
                    </a:cxn>
                    <a:cxn ang="0">
                      <a:pos x="32" y="18"/>
                    </a:cxn>
                    <a:cxn ang="0">
                      <a:pos x="2" y="64"/>
                    </a:cxn>
                    <a:cxn ang="0">
                      <a:pos x="108" y="686"/>
                    </a:cxn>
                    <a:cxn ang="0">
                      <a:pos x="348" y="952"/>
                    </a:cxn>
                    <a:cxn ang="0">
                      <a:pos x="504" y="1020"/>
                    </a:cxn>
                    <a:cxn ang="0">
                      <a:pos x="346" y="1198"/>
                    </a:cxn>
                    <a:cxn ang="0">
                      <a:pos x="330" y="1284"/>
                    </a:cxn>
                    <a:cxn ang="0">
                      <a:pos x="372" y="1442"/>
                    </a:cxn>
                    <a:cxn ang="0">
                      <a:pos x="406" y="1476"/>
                    </a:cxn>
                    <a:cxn ang="0">
                      <a:pos x="436" y="1500"/>
                    </a:cxn>
                    <a:cxn ang="0">
                      <a:pos x="478" y="1550"/>
                    </a:cxn>
                    <a:cxn ang="0">
                      <a:pos x="516" y="1562"/>
                    </a:cxn>
                    <a:cxn ang="0">
                      <a:pos x="558" y="1608"/>
                    </a:cxn>
                    <a:cxn ang="0">
                      <a:pos x="622" y="1636"/>
                    </a:cxn>
                    <a:cxn ang="0">
                      <a:pos x="708" y="1676"/>
                    </a:cxn>
                    <a:cxn ang="0">
                      <a:pos x="742" y="1660"/>
                    </a:cxn>
                    <a:cxn ang="0">
                      <a:pos x="836" y="1606"/>
                    </a:cxn>
                    <a:cxn ang="0">
                      <a:pos x="892" y="1528"/>
                    </a:cxn>
                    <a:cxn ang="0">
                      <a:pos x="1012" y="1188"/>
                    </a:cxn>
                    <a:cxn ang="0">
                      <a:pos x="1016" y="1342"/>
                    </a:cxn>
                    <a:cxn ang="0">
                      <a:pos x="1018" y="1494"/>
                    </a:cxn>
                    <a:cxn ang="0">
                      <a:pos x="1120" y="1598"/>
                    </a:cxn>
                    <a:cxn ang="0">
                      <a:pos x="1146" y="1430"/>
                    </a:cxn>
                    <a:cxn ang="0">
                      <a:pos x="1128" y="1158"/>
                    </a:cxn>
                    <a:cxn ang="0">
                      <a:pos x="1150" y="1176"/>
                    </a:cxn>
                    <a:cxn ang="0">
                      <a:pos x="1274" y="1528"/>
                    </a:cxn>
                    <a:cxn ang="0">
                      <a:pos x="1370" y="1646"/>
                    </a:cxn>
                    <a:cxn ang="0">
                      <a:pos x="1424" y="1660"/>
                    </a:cxn>
                    <a:cxn ang="0">
                      <a:pos x="1458" y="1676"/>
                    </a:cxn>
                    <a:cxn ang="0">
                      <a:pos x="1544" y="1636"/>
                    </a:cxn>
                    <a:cxn ang="0">
                      <a:pos x="1608" y="1608"/>
                    </a:cxn>
                    <a:cxn ang="0">
                      <a:pos x="1650" y="1562"/>
                    </a:cxn>
                    <a:cxn ang="0">
                      <a:pos x="1688" y="1550"/>
                    </a:cxn>
                    <a:cxn ang="0">
                      <a:pos x="1730" y="1500"/>
                    </a:cxn>
                    <a:cxn ang="0">
                      <a:pos x="1760" y="1476"/>
                    </a:cxn>
                    <a:cxn ang="0">
                      <a:pos x="1794" y="1442"/>
                    </a:cxn>
                    <a:cxn ang="0">
                      <a:pos x="1836" y="1284"/>
                    </a:cxn>
                    <a:cxn ang="0">
                      <a:pos x="1820" y="1198"/>
                    </a:cxn>
                    <a:cxn ang="0">
                      <a:pos x="1662" y="1020"/>
                    </a:cxn>
                    <a:cxn ang="0">
                      <a:pos x="1882" y="942"/>
                    </a:cxn>
                    <a:cxn ang="0">
                      <a:pos x="2086" y="544"/>
                    </a:cxn>
                    <a:cxn ang="0">
                      <a:pos x="1076" y="792"/>
                    </a:cxn>
                  </a:cxnLst>
                  <a:rect l="0" t="0" r="r" b="b"/>
                  <a:pathLst>
                    <a:path w="2164" h="1680">
                      <a:moveTo>
                        <a:pt x="2162" y="70"/>
                      </a:moveTo>
                      <a:lnTo>
                        <a:pt x="2162" y="70"/>
                      </a:lnTo>
                      <a:lnTo>
                        <a:pt x="2164" y="64"/>
                      </a:lnTo>
                      <a:lnTo>
                        <a:pt x="2164" y="60"/>
                      </a:lnTo>
                      <a:lnTo>
                        <a:pt x="2164" y="52"/>
                      </a:lnTo>
                      <a:lnTo>
                        <a:pt x="2160" y="44"/>
                      </a:lnTo>
                      <a:lnTo>
                        <a:pt x="2156" y="36"/>
                      </a:lnTo>
                      <a:lnTo>
                        <a:pt x="2146" y="28"/>
                      </a:lnTo>
                      <a:lnTo>
                        <a:pt x="2134" y="18"/>
                      </a:lnTo>
                      <a:lnTo>
                        <a:pt x="2134" y="18"/>
                      </a:lnTo>
                      <a:lnTo>
                        <a:pt x="2118" y="12"/>
                      </a:lnTo>
                      <a:lnTo>
                        <a:pt x="2102" y="6"/>
                      </a:lnTo>
                      <a:lnTo>
                        <a:pt x="2086" y="4"/>
                      </a:lnTo>
                      <a:lnTo>
                        <a:pt x="2072" y="2"/>
                      </a:lnTo>
                      <a:lnTo>
                        <a:pt x="2048" y="0"/>
                      </a:lnTo>
                      <a:lnTo>
                        <a:pt x="2038" y="0"/>
                      </a:lnTo>
                      <a:lnTo>
                        <a:pt x="1904" y="40"/>
                      </a:lnTo>
                      <a:lnTo>
                        <a:pt x="1752" y="118"/>
                      </a:lnTo>
                      <a:lnTo>
                        <a:pt x="1598" y="244"/>
                      </a:lnTo>
                      <a:lnTo>
                        <a:pt x="1476" y="370"/>
                      </a:lnTo>
                      <a:lnTo>
                        <a:pt x="1312" y="580"/>
                      </a:lnTo>
                      <a:lnTo>
                        <a:pt x="1216" y="732"/>
                      </a:lnTo>
                      <a:lnTo>
                        <a:pt x="1160" y="836"/>
                      </a:lnTo>
                      <a:lnTo>
                        <a:pt x="1142" y="870"/>
                      </a:lnTo>
                      <a:lnTo>
                        <a:pt x="1142" y="870"/>
                      </a:lnTo>
                      <a:lnTo>
                        <a:pt x="1142" y="860"/>
                      </a:lnTo>
                      <a:lnTo>
                        <a:pt x="1142" y="860"/>
                      </a:lnTo>
                      <a:lnTo>
                        <a:pt x="1142" y="856"/>
                      </a:lnTo>
                      <a:lnTo>
                        <a:pt x="1138" y="848"/>
                      </a:lnTo>
                      <a:lnTo>
                        <a:pt x="1126" y="832"/>
                      </a:lnTo>
                      <a:lnTo>
                        <a:pt x="1126" y="832"/>
                      </a:lnTo>
                      <a:lnTo>
                        <a:pt x="1132" y="822"/>
                      </a:lnTo>
                      <a:lnTo>
                        <a:pt x="1134" y="812"/>
                      </a:lnTo>
                      <a:lnTo>
                        <a:pt x="1134" y="812"/>
                      </a:lnTo>
                      <a:lnTo>
                        <a:pt x="1132" y="802"/>
                      </a:lnTo>
                      <a:lnTo>
                        <a:pt x="1126" y="794"/>
                      </a:lnTo>
                      <a:lnTo>
                        <a:pt x="1118" y="788"/>
                      </a:lnTo>
                      <a:lnTo>
                        <a:pt x="1108" y="786"/>
                      </a:lnTo>
                      <a:lnTo>
                        <a:pt x="1108" y="786"/>
                      </a:lnTo>
                      <a:lnTo>
                        <a:pt x="1104" y="786"/>
                      </a:lnTo>
                      <a:lnTo>
                        <a:pt x="1108" y="780"/>
                      </a:lnTo>
                      <a:lnTo>
                        <a:pt x="1100" y="780"/>
                      </a:lnTo>
                      <a:lnTo>
                        <a:pt x="1094" y="780"/>
                      </a:lnTo>
                      <a:lnTo>
                        <a:pt x="1094" y="780"/>
                      </a:lnTo>
                      <a:lnTo>
                        <a:pt x="1086" y="774"/>
                      </a:lnTo>
                      <a:lnTo>
                        <a:pt x="1086" y="776"/>
                      </a:lnTo>
                      <a:lnTo>
                        <a:pt x="1084" y="774"/>
                      </a:lnTo>
                      <a:lnTo>
                        <a:pt x="1080" y="778"/>
                      </a:lnTo>
                      <a:lnTo>
                        <a:pt x="1074" y="776"/>
                      </a:lnTo>
                      <a:lnTo>
                        <a:pt x="1074" y="780"/>
                      </a:lnTo>
                      <a:lnTo>
                        <a:pt x="1068" y="780"/>
                      </a:lnTo>
                      <a:lnTo>
                        <a:pt x="1064" y="780"/>
                      </a:lnTo>
                      <a:lnTo>
                        <a:pt x="1068" y="788"/>
                      </a:lnTo>
                      <a:lnTo>
                        <a:pt x="1068" y="788"/>
                      </a:lnTo>
                      <a:lnTo>
                        <a:pt x="1068" y="788"/>
                      </a:lnTo>
                      <a:lnTo>
                        <a:pt x="1058" y="786"/>
                      </a:lnTo>
                      <a:lnTo>
                        <a:pt x="1058" y="786"/>
                      </a:lnTo>
                      <a:lnTo>
                        <a:pt x="1048" y="788"/>
                      </a:lnTo>
                      <a:lnTo>
                        <a:pt x="1040" y="794"/>
                      </a:lnTo>
                      <a:lnTo>
                        <a:pt x="1034" y="802"/>
                      </a:lnTo>
                      <a:lnTo>
                        <a:pt x="1032" y="812"/>
                      </a:lnTo>
                      <a:lnTo>
                        <a:pt x="1032" y="812"/>
                      </a:lnTo>
                      <a:lnTo>
                        <a:pt x="1034" y="820"/>
                      </a:lnTo>
                      <a:lnTo>
                        <a:pt x="1036" y="828"/>
                      </a:lnTo>
                      <a:lnTo>
                        <a:pt x="1036" y="828"/>
                      </a:lnTo>
                      <a:lnTo>
                        <a:pt x="1024" y="846"/>
                      </a:lnTo>
                      <a:lnTo>
                        <a:pt x="1020" y="854"/>
                      </a:lnTo>
                      <a:lnTo>
                        <a:pt x="1018" y="860"/>
                      </a:lnTo>
                      <a:lnTo>
                        <a:pt x="1006" y="836"/>
                      </a:lnTo>
                      <a:lnTo>
                        <a:pt x="950" y="732"/>
                      </a:lnTo>
                      <a:lnTo>
                        <a:pt x="854" y="580"/>
                      </a:lnTo>
                      <a:lnTo>
                        <a:pt x="690" y="370"/>
                      </a:lnTo>
                      <a:lnTo>
                        <a:pt x="568" y="244"/>
                      </a:lnTo>
                      <a:lnTo>
                        <a:pt x="412" y="118"/>
                      </a:lnTo>
                      <a:lnTo>
                        <a:pt x="262" y="40"/>
                      </a:lnTo>
                      <a:lnTo>
                        <a:pt x="128" y="0"/>
                      </a:lnTo>
                      <a:lnTo>
                        <a:pt x="128" y="0"/>
                      </a:lnTo>
                      <a:lnTo>
                        <a:pt x="118" y="0"/>
                      </a:lnTo>
                      <a:lnTo>
                        <a:pt x="94" y="2"/>
                      </a:lnTo>
                      <a:lnTo>
                        <a:pt x="80" y="4"/>
                      </a:lnTo>
                      <a:lnTo>
                        <a:pt x="64" y="6"/>
                      </a:lnTo>
                      <a:lnTo>
                        <a:pt x="48" y="12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20" y="28"/>
                      </a:lnTo>
                      <a:lnTo>
                        <a:pt x="10" y="36"/>
                      </a:lnTo>
                      <a:lnTo>
                        <a:pt x="6" y="44"/>
                      </a:lnTo>
                      <a:lnTo>
                        <a:pt x="2" y="52"/>
                      </a:lnTo>
                      <a:lnTo>
                        <a:pt x="2" y="60"/>
                      </a:lnTo>
                      <a:lnTo>
                        <a:pt x="2" y="64"/>
                      </a:lnTo>
                      <a:lnTo>
                        <a:pt x="4" y="70"/>
                      </a:lnTo>
                      <a:lnTo>
                        <a:pt x="0" y="114"/>
                      </a:lnTo>
                      <a:lnTo>
                        <a:pt x="12" y="226"/>
                      </a:lnTo>
                      <a:lnTo>
                        <a:pt x="58" y="452"/>
                      </a:lnTo>
                      <a:lnTo>
                        <a:pt x="80" y="544"/>
                      </a:lnTo>
                      <a:lnTo>
                        <a:pt x="108" y="686"/>
                      </a:lnTo>
                      <a:lnTo>
                        <a:pt x="122" y="734"/>
                      </a:lnTo>
                      <a:lnTo>
                        <a:pt x="154" y="810"/>
                      </a:lnTo>
                      <a:lnTo>
                        <a:pt x="196" y="876"/>
                      </a:lnTo>
                      <a:lnTo>
                        <a:pt x="240" y="918"/>
                      </a:lnTo>
                      <a:lnTo>
                        <a:pt x="284" y="942"/>
                      </a:lnTo>
                      <a:lnTo>
                        <a:pt x="348" y="952"/>
                      </a:lnTo>
                      <a:lnTo>
                        <a:pt x="410" y="960"/>
                      </a:lnTo>
                      <a:lnTo>
                        <a:pt x="622" y="978"/>
                      </a:lnTo>
                      <a:lnTo>
                        <a:pt x="622" y="978"/>
                      </a:lnTo>
                      <a:lnTo>
                        <a:pt x="580" y="992"/>
                      </a:lnTo>
                      <a:lnTo>
                        <a:pt x="538" y="1006"/>
                      </a:lnTo>
                      <a:lnTo>
                        <a:pt x="504" y="1020"/>
                      </a:lnTo>
                      <a:lnTo>
                        <a:pt x="486" y="1028"/>
                      </a:lnTo>
                      <a:lnTo>
                        <a:pt x="486" y="1028"/>
                      </a:lnTo>
                      <a:lnTo>
                        <a:pt x="444" y="1066"/>
                      </a:lnTo>
                      <a:lnTo>
                        <a:pt x="410" y="1098"/>
                      </a:lnTo>
                      <a:lnTo>
                        <a:pt x="346" y="1198"/>
                      </a:lnTo>
                      <a:lnTo>
                        <a:pt x="346" y="1198"/>
                      </a:lnTo>
                      <a:lnTo>
                        <a:pt x="338" y="1222"/>
                      </a:lnTo>
                      <a:lnTo>
                        <a:pt x="330" y="1242"/>
                      </a:lnTo>
                      <a:lnTo>
                        <a:pt x="326" y="1256"/>
                      </a:lnTo>
                      <a:lnTo>
                        <a:pt x="326" y="1256"/>
                      </a:lnTo>
                      <a:lnTo>
                        <a:pt x="326" y="1270"/>
                      </a:lnTo>
                      <a:lnTo>
                        <a:pt x="330" y="1284"/>
                      </a:lnTo>
                      <a:lnTo>
                        <a:pt x="334" y="1302"/>
                      </a:lnTo>
                      <a:lnTo>
                        <a:pt x="334" y="1346"/>
                      </a:lnTo>
                      <a:lnTo>
                        <a:pt x="358" y="1386"/>
                      </a:lnTo>
                      <a:lnTo>
                        <a:pt x="370" y="1438"/>
                      </a:lnTo>
                      <a:lnTo>
                        <a:pt x="370" y="1438"/>
                      </a:lnTo>
                      <a:lnTo>
                        <a:pt x="372" y="1442"/>
                      </a:lnTo>
                      <a:lnTo>
                        <a:pt x="376" y="1454"/>
                      </a:lnTo>
                      <a:lnTo>
                        <a:pt x="380" y="1460"/>
                      </a:lnTo>
                      <a:lnTo>
                        <a:pt x="386" y="1466"/>
                      </a:lnTo>
                      <a:lnTo>
                        <a:pt x="396" y="1472"/>
                      </a:lnTo>
                      <a:lnTo>
                        <a:pt x="406" y="1476"/>
                      </a:lnTo>
                      <a:lnTo>
                        <a:pt x="406" y="1476"/>
                      </a:lnTo>
                      <a:lnTo>
                        <a:pt x="418" y="1480"/>
                      </a:lnTo>
                      <a:lnTo>
                        <a:pt x="424" y="1484"/>
                      </a:lnTo>
                      <a:lnTo>
                        <a:pt x="430" y="1488"/>
                      </a:lnTo>
                      <a:lnTo>
                        <a:pt x="434" y="1492"/>
                      </a:lnTo>
                      <a:lnTo>
                        <a:pt x="436" y="1498"/>
                      </a:lnTo>
                      <a:lnTo>
                        <a:pt x="436" y="1500"/>
                      </a:lnTo>
                      <a:lnTo>
                        <a:pt x="436" y="1500"/>
                      </a:lnTo>
                      <a:lnTo>
                        <a:pt x="444" y="1514"/>
                      </a:lnTo>
                      <a:lnTo>
                        <a:pt x="458" y="1534"/>
                      </a:lnTo>
                      <a:lnTo>
                        <a:pt x="458" y="1534"/>
                      </a:lnTo>
                      <a:lnTo>
                        <a:pt x="466" y="1540"/>
                      </a:lnTo>
                      <a:lnTo>
                        <a:pt x="478" y="1550"/>
                      </a:lnTo>
                      <a:lnTo>
                        <a:pt x="490" y="1556"/>
                      </a:lnTo>
                      <a:lnTo>
                        <a:pt x="498" y="1558"/>
                      </a:lnTo>
                      <a:lnTo>
                        <a:pt x="504" y="1558"/>
                      </a:lnTo>
                      <a:lnTo>
                        <a:pt x="504" y="1558"/>
                      </a:lnTo>
                      <a:lnTo>
                        <a:pt x="510" y="1558"/>
                      </a:lnTo>
                      <a:lnTo>
                        <a:pt x="516" y="1562"/>
                      </a:lnTo>
                      <a:lnTo>
                        <a:pt x="528" y="1572"/>
                      </a:lnTo>
                      <a:lnTo>
                        <a:pt x="536" y="1582"/>
                      </a:lnTo>
                      <a:lnTo>
                        <a:pt x="540" y="1588"/>
                      </a:lnTo>
                      <a:lnTo>
                        <a:pt x="540" y="1588"/>
                      </a:lnTo>
                      <a:lnTo>
                        <a:pt x="548" y="1598"/>
                      </a:lnTo>
                      <a:lnTo>
                        <a:pt x="558" y="1608"/>
                      </a:lnTo>
                      <a:lnTo>
                        <a:pt x="564" y="1612"/>
                      </a:lnTo>
                      <a:lnTo>
                        <a:pt x="570" y="1614"/>
                      </a:lnTo>
                      <a:lnTo>
                        <a:pt x="570" y="1614"/>
                      </a:lnTo>
                      <a:lnTo>
                        <a:pt x="586" y="1618"/>
                      </a:lnTo>
                      <a:lnTo>
                        <a:pt x="602" y="1626"/>
                      </a:lnTo>
                      <a:lnTo>
                        <a:pt x="622" y="1636"/>
                      </a:lnTo>
                      <a:lnTo>
                        <a:pt x="648" y="1656"/>
                      </a:lnTo>
                      <a:lnTo>
                        <a:pt x="676" y="1678"/>
                      </a:lnTo>
                      <a:lnTo>
                        <a:pt x="676" y="1678"/>
                      </a:lnTo>
                      <a:lnTo>
                        <a:pt x="682" y="1678"/>
                      </a:lnTo>
                      <a:lnTo>
                        <a:pt x="694" y="1680"/>
                      </a:lnTo>
                      <a:lnTo>
                        <a:pt x="708" y="1676"/>
                      </a:lnTo>
                      <a:lnTo>
                        <a:pt x="716" y="1674"/>
                      </a:lnTo>
                      <a:lnTo>
                        <a:pt x="724" y="1670"/>
                      </a:lnTo>
                      <a:lnTo>
                        <a:pt x="724" y="1670"/>
                      </a:lnTo>
                      <a:lnTo>
                        <a:pt x="730" y="1664"/>
                      </a:lnTo>
                      <a:lnTo>
                        <a:pt x="736" y="1662"/>
                      </a:lnTo>
                      <a:lnTo>
                        <a:pt x="742" y="1660"/>
                      </a:lnTo>
                      <a:lnTo>
                        <a:pt x="746" y="1660"/>
                      </a:lnTo>
                      <a:lnTo>
                        <a:pt x="754" y="1664"/>
                      </a:lnTo>
                      <a:lnTo>
                        <a:pt x="756" y="1664"/>
                      </a:lnTo>
                      <a:lnTo>
                        <a:pt x="772" y="1662"/>
                      </a:lnTo>
                      <a:lnTo>
                        <a:pt x="796" y="1646"/>
                      </a:lnTo>
                      <a:lnTo>
                        <a:pt x="836" y="1606"/>
                      </a:lnTo>
                      <a:lnTo>
                        <a:pt x="836" y="1606"/>
                      </a:lnTo>
                      <a:lnTo>
                        <a:pt x="840" y="1602"/>
                      </a:lnTo>
                      <a:lnTo>
                        <a:pt x="852" y="1588"/>
                      </a:lnTo>
                      <a:lnTo>
                        <a:pt x="870" y="1564"/>
                      </a:lnTo>
                      <a:lnTo>
                        <a:pt x="892" y="1528"/>
                      </a:lnTo>
                      <a:lnTo>
                        <a:pt x="892" y="1528"/>
                      </a:lnTo>
                      <a:lnTo>
                        <a:pt x="914" y="1478"/>
                      </a:lnTo>
                      <a:lnTo>
                        <a:pt x="938" y="1424"/>
                      </a:lnTo>
                      <a:lnTo>
                        <a:pt x="964" y="1362"/>
                      </a:lnTo>
                      <a:lnTo>
                        <a:pt x="964" y="1362"/>
                      </a:lnTo>
                      <a:lnTo>
                        <a:pt x="988" y="1268"/>
                      </a:lnTo>
                      <a:lnTo>
                        <a:pt x="1012" y="1188"/>
                      </a:lnTo>
                      <a:lnTo>
                        <a:pt x="1034" y="1116"/>
                      </a:lnTo>
                      <a:lnTo>
                        <a:pt x="1032" y="1158"/>
                      </a:lnTo>
                      <a:lnTo>
                        <a:pt x="1024" y="1232"/>
                      </a:lnTo>
                      <a:lnTo>
                        <a:pt x="1026" y="1256"/>
                      </a:lnTo>
                      <a:lnTo>
                        <a:pt x="1016" y="1290"/>
                      </a:lnTo>
                      <a:lnTo>
                        <a:pt x="1016" y="1342"/>
                      </a:lnTo>
                      <a:lnTo>
                        <a:pt x="1016" y="1356"/>
                      </a:lnTo>
                      <a:lnTo>
                        <a:pt x="1016" y="1430"/>
                      </a:lnTo>
                      <a:lnTo>
                        <a:pt x="1026" y="1436"/>
                      </a:lnTo>
                      <a:lnTo>
                        <a:pt x="1026" y="1446"/>
                      </a:lnTo>
                      <a:lnTo>
                        <a:pt x="1016" y="1458"/>
                      </a:lnTo>
                      <a:lnTo>
                        <a:pt x="1018" y="1494"/>
                      </a:lnTo>
                      <a:lnTo>
                        <a:pt x="1018" y="1552"/>
                      </a:lnTo>
                      <a:lnTo>
                        <a:pt x="1040" y="1598"/>
                      </a:lnTo>
                      <a:lnTo>
                        <a:pt x="1076" y="1628"/>
                      </a:lnTo>
                      <a:lnTo>
                        <a:pt x="1080" y="1596"/>
                      </a:lnTo>
                      <a:lnTo>
                        <a:pt x="1084" y="1628"/>
                      </a:lnTo>
                      <a:lnTo>
                        <a:pt x="1120" y="1598"/>
                      </a:lnTo>
                      <a:lnTo>
                        <a:pt x="1142" y="1552"/>
                      </a:lnTo>
                      <a:lnTo>
                        <a:pt x="1142" y="1494"/>
                      </a:lnTo>
                      <a:lnTo>
                        <a:pt x="1146" y="1458"/>
                      </a:lnTo>
                      <a:lnTo>
                        <a:pt x="1134" y="1446"/>
                      </a:lnTo>
                      <a:lnTo>
                        <a:pt x="1134" y="1436"/>
                      </a:lnTo>
                      <a:lnTo>
                        <a:pt x="1146" y="1430"/>
                      </a:lnTo>
                      <a:lnTo>
                        <a:pt x="1146" y="1356"/>
                      </a:lnTo>
                      <a:lnTo>
                        <a:pt x="1146" y="1342"/>
                      </a:lnTo>
                      <a:lnTo>
                        <a:pt x="1146" y="1290"/>
                      </a:lnTo>
                      <a:lnTo>
                        <a:pt x="1134" y="1256"/>
                      </a:lnTo>
                      <a:lnTo>
                        <a:pt x="1136" y="1232"/>
                      </a:lnTo>
                      <a:lnTo>
                        <a:pt x="1128" y="1158"/>
                      </a:lnTo>
                      <a:lnTo>
                        <a:pt x="1126" y="1116"/>
                      </a:lnTo>
                      <a:lnTo>
                        <a:pt x="1126" y="1116"/>
                      </a:lnTo>
                      <a:lnTo>
                        <a:pt x="1126" y="1106"/>
                      </a:lnTo>
                      <a:lnTo>
                        <a:pt x="1126" y="1106"/>
                      </a:lnTo>
                      <a:lnTo>
                        <a:pt x="1138" y="1136"/>
                      </a:lnTo>
                      <a:lnTo>
                        <a:pt x="1150" y="1176"/>
                      </a:lnTo>
                      <a:lnTo>
                        <a:pt x="1174" y="1260"/>
                      </a:lnTo>
                      <a:lnTo>
                        <a:pt x="1202" y="1362"/>
                      </a:lnTo>
                      <a:lnTo>
                        <a:pt x="1202" y="1362"/>
                      </a:lnTo>
                      <a:lnTo>
                        <a:pt x="1228" y="1424"/>
                      </a:lnTo>
                      <a:lnTo>
                        <a:pt x="1250" y="1478"/>
                      </a:lnTo>
                      <a:lnTo>
                        <a:pt x="1274" y="1528"/>
                      </a:lnTo>
                      <a:lnTo>
                        <a:pt x="1274" y="1528"/>
                      </a:lnTo>
                      <a:lnTo>
                        <a:pt x="1296" y="1564"/>
                      </a:lnTo>
                      <a:lnTo>
                        <a:pt x="1312" y="1588"/>
                      </a:lnTo>
                      <a:lnTo>
                        <a:pt x="1326" y="1602"/>
                      </a:lnTo>
                      <a:lnTo>
                        <a:pt x="1330" y="1606"/>
                      </a:lnTo>
                      <a:lnTo>
                        <a:pt x="1370" y="1646"/>
                      </a:lnTo>
                      <a:lnTo>
                        <a:pt x="1394" y="1662"/>
                      </a:lnTo>
                      <a:lnTo>
                        <a:pt x="1410" y="1664"/>
                      </a:lnTo>
                      <a:lnTo>
                        <a:pt x="1410" y="1664"/>
                      </a:lnTo>
                      <a:lnTo>
                        <a:pt x="1412" y="1664"/>
                      </a:lnTo>
                      <a:lnTo>
                        <a:pt x="1420" y="1660"/>
                      </a:lnTo>
                      <a:lnTo>
                        <a:pt x="1424" y="1660"/>
                      </a:lnTo>
                      <a:lnTo>
                        <a:pt x="1430" y="1662"/>
                      </a:lnTo>
                      <a:lnTo>
                        <a:pt x="1436" y="1664"/>
                      </a:lnTo>
                      <a:lnTo>
                        <a:pt x="1442" y="1670"/>
                      </a:lnTo>
                      <a:lnTo>
                        <a:pt x="1442" y="1670"/>
                      </a:lnTo>
                      <a:lnTo>
                        <a:pt x="1450" y="1674"/>
                      </a:lnTo>
                      <a:lnTo>
                        <a:pt x="1458" y="1676"/>
                      </a:lnTo>
                      <a:lnTo>
                        <a:pt x="1472" y="1680"/>
                      </a:lnTo>
                      <a:lnTo>
                        <a:pt x="1484" y="1678"/>
                      </a:lnTo>
                      <a:lnTo>
                        <a:pt x="1490" y="1678"/>
                      </a:lnTo>
                      <a:lnTo>
                        <a:pt x="1518" y="1656"/>
                      </a:lnTo>
                      <a:lnTo>
                        <a:pt x="1544" y="1636"/>
                      </a:lnTo>
                      <a:lnTo>
                        <a:pt x="1544" y="1636"/>
                      </a:lnTo>
                      <a:lnTo>
                        <a:pt x="1564" y="1626"/>
                      </a:lnTo>
                      <a:lnTo>
                        <a:pt x="1580" y="1618"/>
                      </a:lnTo>
                      <a:lnTo>
                        <a:pt x="1596" y="1614"/>
                      </a:lnTo>
                      <a:lnTo>
                        <a:pt x="1596" y="1614"/>
                      </a:lnTo>
                      <a:lnTo>
                        <a:pt x="1602" y="1612"/>
                      </a:lnTo>
                      <a:lnTo>
                        <a:pt x="1608" y="1608"/>
                      </a:lnTo>
                      <a:lnTo>
                        <a:pt x="1618" y="1598"/>
                      </a:lnTo>
                      <a:lnTo>
                        <a:pt x="1626" y="1588"/>
                      </a:lnTo>
                      <a:lnTo>
                        <a:pt x="1626" y="1588"/>
                      </a:lnTo>
                      <a:lnTo>
                        <a:pt x="1630" y="1582"/>
                      </a:lnTo>
                      <a:lnTo>
                        <a:pt x="1638" y="1572"/>
                      </a:lnTo>
                      <a:lnTo>
                        <a:pt x="1650" y="1562"/>
                      </a:lnTo>
                      <a:lnTo>
                        <a:pt x="1656" y="1558"/>
                      </a:lnTo>
                      <a:lnTo>
                        <a:pt x="1662" y="1558"/>
                      </a:lnTo>
                      <a:lnTo>
                        <a:pt x="1662" y="1558"/>
                      </a:lnTo>
                      <a:lnTo>
                        <a:pt x="1668" y="1558"/>
                      </a:lnTo>
                      <a:lnTo>
                        <a:pt x="1674" y="1556"/>
                      </a:lnTo>
                      <a:lnTo>
                        <a:pt x="1688" y="1550"/>
                      </a:lnTo>
                      <a:lnTo>
                        <a:pt x="1700" y="1540"/>
                      </a:lnTo>
                      <a:lnTo>
                        <a:pt x="1708" y="1534"/>
                      </a:lnTo>
                      <a:lnTo>
                        <a:pt x="1708" y="1534"/>
                      </a:lnTo>
                      <a:lnTo>
                        <a:pt x="1722" y="1514"/>
                      </a:lnTo>
                      <a:lnTo>
                        <a:pt x="1730" y="1500"/>
                      </a:lnTo>
                      <a:lnTo>
                        <a:pt x="1730" y="1500"/>
                      </a:lnTo>
                      <a:lnTo>
                        <a:pt x="1730" y="1498"/>
                      </a:lnTo>
                      <a:lnTo>
                        <a:pt x="1732" y="1492"/>
                      </a:lnTo>
                      <a:lnTo>
                        <a:pt x="1736" y="1488"/>
                      </a:lnTo>
                      <a:lnTo>
                        <a:pt x="1740" y="1484"/>
                      </a:lnTo>
                      <a:lnTo>
                        <a:pt x="1748" y="1480"/>
                      </a:lnTo>
                      <a:lnTo>
                        <a:pt x="1760" y="1476"/>
                      </a:lnTo>
                      <a:lnTo>
                        <a:pt x="1760" y="1476"/>
                      </a:lnTo>
                      <a:lnTo>
                        <a:pt x="1770" y="1472"/>
                      </a:lnTo>
                      <a:lnTo>
                        <a:pt x="1780" y="1466"/>
                      </a:lnTo>
                      <a:lnTo>
                        <a:pt x="1786" y="1460"/>
                      </a:lnTo>
                      <a:lnTo>
                        <a:pt x="1790" y="1454"/>
                      </a:lnTo>
                      <a:lnTo>
                        <a:pt x="1794" y="1442"/>
                      </a:lnTo>
                      <a:lnTo>
                        <a:pt x="1794" y="1438"/>
                      </a:lnTo>
                      <a:lnTo>
                        <a:pt x="1808" y="1386"/>
                      </a:lnTo>
                      <a:lnTo>
                        <a:pt x="1832" y="1346"/>
                      </a:lnTo>
                      <a:lnTo>
                        <a:pt x="1832" y="1302"/>
                      </a:lnTo>
                      <a:lnTo>
                        <a:pt x="1832" y="1302"/>
                      </a:lnTo>
                      <a:lnTo>
                        <a:pt x="1836" y="1284"/>
                      </a:lnTo>
                      <a:lnTo>
                        <a:pt x="1840" y="1270"/>
                      </a:lnTo>
                      <a:lnTo>
                        <a:pt x="1840" y="1256"/>
                      </a:lnTo>
                      <a:lnTo>
                        <a:pt x="1840" y="1256"/>
                      </a:lnTo>
                      <a:lnTo>
                        <a:pt x="1836" y="1242"/>
                      </a:lnTo>
                      <a:lnTo>
                        <a:pt x="1828" y="1222"/>
                      </a:lnTo>
                      <a:lnTo>
                        <a:pt x="1820" y="1198"/>
                      </a:lnTo>
                      <a:lnTo>
                        <a:pt x="1756" y="1098"/>
                      </a:lnTo>
                      <a:lnTo>
                        <a:pt x="1756" y="1098"/>
                      </a:lnTo>
                      <a:lnTo>
                        <a:pt x="1722" y="1066"/>
                      </a:lnTo>
                      <a:lnTo>
                        <a:pt x="1680" y="1028"/>
                      </a:lnTo>
                      <a:lnTo>
                        <a:pt x="1680" y="1028"/>
                      </a:lnTo>
                      <a:lnTo>
                        <a:pt x="1662" y="1020"/>
                      </a:lnTo>
                      <a:lnTo>
                        <a:pt x="1628" y="1006"/>
                      </a:lnTo>
                      <a:lnTo>
                        <a:pt x="1586" y="992"/>
                      </a:lnTo>
                      <a:lnTo>
                        <a:pt x="1544" y="978"/>
                      </a:lnTo>
                      <a:lnTo>
                        <a:pt x="1756" y="960"/>
                      </a:lnTo>
                      <a:lnTo>
                        <a:pt x="1818" y="952"/>
                      </a:lnTo>
                      <a:lnTo>
                        <a:pt x="1882" y="942"/>
                      </a:lnTo>
                      <a:lnTo>
                        <a:pt x="1926" y="918"/>
                      </a:lnTo>
                      <a:lnTo>
                        <a:pt x="1970" y="876"/>
                      </a:lnTo>
                      <a:lnTo>
                        <a:pt x="2012" y="810"/>
                      </a:lnTo>
                      <a:lnTo>
                        <a:pt x="2044" y="734"/>
                      </a:lnTo>
                      <a:lnTo>
                        <a:pt x="2058" y="686"/>
                      </a:lnTo>
                      <a:lnTo>
                        <a:pt x="2086" y="544"/>
                      </a:lnTo>
                      <a:lnTo>
                        <a:pt x="2108" y="452"/>
                      </a:lnTo>
                      <a:lnTo>
                        <a:pt x="2154" y="226"/>
                      </a:lnTo>
                      <a:lnTo>
                        <a:pt x="2164" y="114"/>
                      </a:lnTo>
                      <a:lnTo>
                        <a:pt x="2162" y="70"/>
                      </a:lnTo>
                      <a:close/>
                      <a:moveTo>
                        <a:pt x="1076" y="792"/>
                      </a:moveTo>
                      <a:lnTo>
                        <a:pt x="1076" y="792"/>
                      </a:lnTo>
                      <a:lnTo>
                        <a:pt x="1076" y="790"/>
                      </a:lnTo>
                      <a:lnTo>
                        <a:pt x="1076" y="790"/>
                      </a:lnTo>
                      <a:lnTo>
                        <a:pt x="1076" y="79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>
                  <a:glow rad="177800">
                    <a:schemeClr val="bg2">
                      <a:lumMod val="60000"/>
                      <a:lumOff val="40000"/>
                      <a:alpha val="11000"/>
                    </a:schemeClr>
                  </a:glow>
                  <a:softEdge rad="254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29" name="Group 182"/>
              <p:cNvGrpSpPr>
                <a:grpSpLocks noChangeAspect="1"/>
              </p:cNvGrpSpPr>
              <p:nvPr/>
            </p:nvGrpSpPr>
            <p:grpSpPr>
              <a:xfrm rot="19493664">
                <a:off x="7783359" y="5358489"/>
                <a:ext cx="1188480" cy="974662"/>
                <a:chOff x="381000" y="304800"/>
                <a:chExt cx="3317876" cy="2720975"/>
              </a:xfrm>
              <a:solidFill>
                <a:schemeClr val="bg2">
                  <a:lumMod val="60000"/>
                  <a:lumOff val="40000"/>
                  <a:alpha val="1000"/>
                </a:schemeClr>
              </a:solidFill>
            </p:grpSpPr>
            <p:sp>
              <p:nvSpPr>
                <p:cNvPr id="230" name="Freeform 79"/>
                <p:cNvSpPr>
                  <a:spLocks/>
                </p:cNvSpPr>
                <p:nvPr/>
              </p:nvSpPr>
              <p:spPr bwMode="auto">
                <a:xfrm>
                  <a:off x="1660525" y="654050"/>
                  <a:ext cx="368300" cy="546100"/>
                </a:xfrm>
                <a:custGeom>
                  <a:avLst/>
                  <a:gdLst/>
                  <a:ahLst/>
                  <a:cxnLst>
                    <a:cxn ang="0">
                      <a:pos x="230" y="344"/>
                    </a:cxn>
                    <a:cxn ang="0">
                      <a:pos x="230" y="344"/>
                    </a:cxn>
                    <a:cxn ang="0">
                      <a:pos x="232" y="344"/>
                    </a:cxn>
                    <a:cxn ang="0">
                      <a:pos x="232" y="342"/>
                    </a:cxn>
                    <a:cxn ang="0">
                      <a:pos x="232" y="342"/>
                    </a:cxn>
                    <a:cxn ang="0">
                      <a:pos x="224" y="328"/>
                    </a:cxn>
                    <a:cxn ang="0">
                      <a:pos x="48" y="50"/>
                    </a:cxn>
                    <a:cxn ang="0">
                      <a:pos x="48" y="50"/>
                    </a:cxn>
                    <a:cxn ang="0">
                      <a:pos x="30" y="24"/>
                    </a:cxn>
                    <a:cxn ang="0">
                      <a:pos x="30" y="24"/>
                    </a:cxn>
                    <a:cxn ang="0">
                      <a:pos x="22" y="12"/>
                    </a:cxn>
                    <a:cxn ang="0">
                      <a:pos x="10" y="2"/>
                    </a:cxn>
                    <a:cxn ang="0">
                      <a:pos x="10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4"/>
                    </a:cxn>
                    <a:cxn ang="0">
                      <a:pos x="4" y="14"/>
                    </a:cxn>
                    <a:cxn ang="0">
                      <a:pos x="10" y="22"/>
                    </a:cxn>
                    <a:cxn ang="0">
                      <a:pos x="10" y="22"/>
                    </a:cxn>
                    <a:cxn ang="0">
                      <a:pos x="18" y="30"/>
                    </a:cxn>
                    <a:cxn ang="0">
                      <a:pos x="26" y="42"/>
                    </a:cxn>
                    <a:cxn ang="0">
                      <a:pos x="218" y="332"/>
                    </a:cxn>
                    <a:cxn ang="0">
                      <a:pos x="218" y="332"/>
                    </a:cxn>
                    <a:cxn ang="0">
                      <a:pos x="226" y="340"/>
                    </a:cxn>
                    <a:cxn ang="0">
                      <a:pos x="230" y="344"/>
                    </a:cxn>
                    <a:cxn ang="0">
                      <a:pos x="230" y="344"/>
                    </a:cxn>
                  </a:cxnLst>
                  <a:rect l="0" t="0" r="r" b="b"/>
                  <a:pathLst>
                    <a:path w="232" h="344">
                      <a:moveTo>
                        <a:pt x="230" y="344"/>
                      </a:moveTo>
                      <a:lnTo>
                        <a:pt x="230" y="344"/>
                      </a:lnTo>
                      <a:lnTo>
                        <a:pt x="232" y="344"/>
                      </a:lnTo>
                      <a:lnTo>
                        <a:pt x="232" y="342"/>
                      </a:lnTo>
                      <a:lnTo>
                        <a:pt x="232" y="342"/>
                      </a:lnTo>
                      <a:lnTo>
                        <a:pt x="224" y="328"/>
                      </a:lnTo>
                      <a:lnTo>
                        <a:pt x="48" y="50"/>
                      </a:lnTo>
                      <a:lnTo>
                        <a:pt x="48" y="50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22" y="1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14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8" y="30"/>
                      </a:lnTo>
                      <a:lnTo>
                        <a:pt x="26" y="42"/>
                      </a:lnTo>
                      <a:lnTo>
                        <a:pt x="218" y="332"/>
                      </a:lnTo>
                      <a:lnTo>
                        <a:pt x="218" y="332"/>
                      </a:lnTo>
                      <a:lnTo>
                        <a:pt x="226" y="340"/>
                      </a:lnTo>
                      <a:lnTo>
                        <a:pt x="230" y="344"/>
                      </a:lnTo>
                      <a:lnTo>
                        <a:pt x="230" y="3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1" name="Freeform 80"/>
                <p:cNvSpPr>
                  <a:spLocks/>
                </p:cNvSpPr>
                <p:nvPr/>
              </p:nvSpPr>
              <p:spPr bwMode="auto">
                <a:xfrm>
                  <a:off x="2032000" y="1216025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2" name="Freeform 81"/>
                <p:cNvSpPr>
                  <a:spLocks/>
                </p:cNvSpPr>
                <p:nvPr/>
              </p:nvSpPr>
              <p:spPr bwMode="auto">
                <a:xfrm>
                  <a:off x="2057401" y="654050"/>
                  <a:ext cx="368300" cy="546100"/>
                </a:xfrm>
                <a:custGeom>
                  <a:avLst/>
                  <a:gdLst/>
                  <a:ahLst/>
                  <a:cxnLst>
                    <a:cxn ang="0">
                      <a:pos x="2" y="344"/>
                    </a:cxn>
                    <a:cxn ang="0">
                      <a:pos x="2" y="344"/>
                    </a:cxn>
                    <a:cxn ang="0">
                      <a:pos x="6" y="340"/>
                    </a:cxn>
                    <a:cxn ang="0">
                      <a:pos x="14" y="332"/>
                    </a:cxn>
                    <a:cxn ang="0">
                      <a:pos x="206" y="42"/>
                    </a:cxn>
                    <a:cxn ang="0">
                      <a:pos x="206" y="42"/>
                    </a:cxn>
                    <a:cxn ang="0">
                      <a:pos x="214" y="30"/>
                    </a:cxn>
                    <a:cxn ang="0">
                      <a:pos x="222" y="22"/>
                    </a:cxn>
                    <a:cxn ang="0">
                      <a:pos x="222" y="22"/>
                    </a:cxn>
                    <a:cxn ang="0">
                      <a:pos x="228" y="14"/>
                    </a:cxn>
                    <a:cxn ang="0">
                      <a:pos x="232" y="4"/>
                    </a:cxn>
                    <a:cxn ang="0">
                      <a:pos x="232" y="4"/>
                    </a:cxn>
                    <a:cxn ang="0">
                      <a:pos x="232" y="0"/>
                    </a:cxn>
                    <a:cxn ang="0">
                      <a:pos x="230" y="0"/>
                    </a:cxn>
                    <a:cxn ang="0">
                      <a:pos x="226" y="0"/>
                    </a:cxn>
                    <a:cxn ang="0">
                      <a:pos x="222" y="2"/>
                    </a:cxn>
                    <a:cxn ang="0">
                      <a:pos x="222" y="2"/>
                    </a:cxn>
                    <a:cxn ang="0">
                      <a:pos x="210" y="12"/>
                    </a:cxn>
                    <a:cxn ang="0">
                      <a:pos x="202" y="24"/>
                    </a:cxn>
                    <a:cxn ang="0">
                      <a:pos x="202" y="24"/>
                    </a:cxn>
                    <a:cxn ang="0">
                      <a:pos x="184" y="50"/>
                    </a:cxn>
                    <a:cxn ang="0">
                      <a:pos x="8" y="328"/>
                    </a:cxn>
                    <a:cxn ang="0">
                      <a:pos x="8" y="328"/>
                    </a:cxn>
                    <a:cxn ang="0">
                      <a:pos x="0" y="342"/>
                    </a:cxn>
                    <a:cxn ang="0">
                      <a:pos x="0" y="342"/>
                    </a:cxn>
                    <a:cxn ang="0">
                      <a:pos x="0" y="344"/>
                    </a:cxn>
                    <a:cxn ang="0">
                      <a:pos x="0" y="344"/>
                    </a:cxn>
                    <a:cxn ang="0">
                      <a:pos x="2" y="344"/>
                    </a:cxn>
                    <a:cxn ang="0">
                      <a:pos x="2" y="344"/>
                    </a:cxn>
                  </a:cxnLst>
                  <a:rect l="0" t="0" r="r" b="b"/>
                  <a:pathLst>
                    <a:path w="232" h="344">
                      <a:moveTo>
                        <a:pt x="2" y="344"/>
                      </a:moveTo>
                      <a:lnTo>
                        <a:pt x="2" y="344"/>
                      </a:lnTo>
                      <a:lnTo>
                        <a:pt x="6" y="340"/>
                      </a:lnTo>
                      <a:lnTo>
                        <a:pt x="14" y="332"/>
                      </a:lnTo>
                      <a:lnTo>
                        <a:pt x="206" y="42"/>
                      </a:lnTo>
                      <a:lnTo>
                        <a:pt x="206" y="42"/>
                      </a:lnTo>
                      <a:lnTo>
                        <a:pt x="214" y="30"/>
                      </a:lnTo>
                      <a:lnTo>
                        <a:pt x="222" y="22"/>
                      </a:lnTo>
                      <a:lnTo>
                        <a:pt x="222" y="22"/>
                      </a:lnTo>
                      <a:lnTo>
                        <a:pt x="228" y="14"/>
                      </a:lnTo>
                      <a:lnTo>
                        <a:pt x="232" y="4"/>
                      </a:lnTo>
                      <a:lnTo>
                        <a:pt x="232" y="4"/>
                      </a:lnTo>
                      <a:lnTo>
                        <a:pt x="232" y="0"/>
                      </a:lnTo>
                      <a:lnTo>
                        <a:pt x="230" y="0"/>
                      </a:lnTo>
                      <a:lnTo>
                        <a:pt x="226" y="0"/>
                      </a:lnTo>
                      <a:lnTo>
                        <a:pt x="222" y="2"/>
                      </a:lnTo>
                      <a:lnTo>
                        <a:pt x="222" y="2"/>
                      </a:lnTo>
                      <a:lnTo>
                        <a:pt x="210" y="12"/>
                      </a:lnTo>
                      <a:lnTo>
                        <a:pt x="202" y="24"/>
                      </a:lnTo>
                      <a:lnTo>
                        <a:pt x="202" y="24"/>
                      </a:lnTo>
                      <a:lnTo>
                        <a:pt x="184" y="50"/>
                      </a:lnTo>
                      <a:lnTo>
                        <a:pt x="8" y="328"/>
                      </a:lnTo>
                      <a:lnTo>
                        <a:pt x="8" y="328"/>
                      </a:lnTo>
                      <a:lnTo>
                        <a:pt x="0" y="342"/>
                      </a:lnTo>
                      <a:lnTo>
                        <a:pt x="0" y="342"/>
                      </a:lnTo>
                      <a:lnTo>
                        <a:pt x="0" y="344"/>
                      </a:lnTo>
                      <a:lnTo>
                        <a:pt x="0" y="344"/>
                      </a:lnTo>
                      <a:lnTo>
                        <a:pt x="2" y="344"/>
                      </a:lnTo>
                      <a:lnTo>
                        <a:pt x="2" y="3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3" name="Freeform 82"/>
                <p:cNvSpPr>
                  <a:spLocks noEditPoints="1"/>
                </p:cNvSpPr>
                <p:nvPr/>
              </p:nvSpPr>
              <p:spPr bwMode="auto">
                <a:xfrm>
                  <a:off x="381000" y="304800"/>
                  <a:ext cx="3317876" cy="2720975"/>
                </a:xfrm>
                <a:custGeom>
                  <a:avLst/>
                  <a:gdLst/>
                  <a:ahLst/>
                  <a:cxnLst>
                    <a:cxn ang="0">
                      <a:pos x="1784" y="18"/>
                    </a:cxn>
                    <a:cxn ang="0">
                      <a:pos x="1368" y="254"/>
                    </a:cxn>
                    <a:cxn ang="0">
                      <a:pos x="1096" y="632"/>
                    </a:cxn>
                    <a:cxn ang="0">
                      <a:pos x="1066" y="570"/>
                    </a:cxn>
                    <a:cxn ang="0">
                      <a:pos x="1044" y="562"/>
                    </a:cxn>
                    <a:cxn ang="0">
                      <a:pos x="1016" y="572"/>
                    </a:cxn>
                    <a:cxn ang="0">
                      <a:pos x="992" y="628"/>
                    </a:cxn>
                    <a:cxn ang="0">
                      <a:pos x="680" y="216"/>
                    </a:cxn>
                    <a:cxn ang="0">
                      <a:pos x="268" y="10"/>
                    </a:cxn>
                    <a:cxn ang="0">
                      <a:pos x="34" y="198"/>
                    </a:cxn>
                    <a:cxn ang="0">
                      <a:pos x="86" y="264"/>
                    </a:cxn>
                    <a:cxn ang="0">
                      <a:pos x="156" y="340"/>
                    </a:cxn>
                    <a:cxn ang="0">
                      <a:pos x="198" y="442"/>
                    </a:cxn>
                    <a:cxn ang="0">
                      <a:pos x="224" y="492"/>
                    </a:cxn>
                    <a:cxn ang="0">
                      <a:pos x="240" y="572"/>
                    </a:cxn>
                    <a:cxn ang="0">
                      <a:pos x="272" y="640"/>
                    </a:cxn>
                    <a:cxn ang="0">
                      <a:pos x="378" y="740"/>
                    </a:cxn>
                    <a:cxn ang="0">
                      <a:pos x="470" y="858"/>
                    </a:cxn>
                    <a:cxn ang="0">
                      <a:pos x="342" y="1124"/>
                    </a:cxn>
                    <a:cxn ang="0">
                      <a:pos x="376" y="1176"/>
                    </a:cxn>
                    <a:cxn ang="0">
                      <a:pos x="406" y="1268"/>
                    </a:cxn>
                    <a:cxn ang="0">
                      <a:pos x="458" y="1316"/>
                    </a:cxn>
                    <a:cxn ang="0">
                      <a:pos x="502" y="1380"/>
                    </a:cxn>
                    <a:cxn ang="0">
                      <a:pos x="536" y="1422"/>
                    </a:cxn>
                    <a:cxn ang="0">
                      <a:pos x="460" y="1554"/>
                    </a:cxn>
                    <a:cxn ang="0">
                      <a:pos x="414" y="1686"/>
                    </a:cxn>
                    <a:cxn ang="0">
                      <a:pos x="486" y="1704"/>
                    </a:cxn>
                    <a:cxn ang="0">
                      <a:pos x="586" y="1526"/>
                    </a:cxn>
                    <a:cxn ang="0">
                      <a:pos x="662" y="1528"/>
                    </a:cxn>
                    <a:cxn ang="0">
                      <a:pos x="700" y="1528"/>
                    </a:cxn>
                    <a:cxn ang="0">
                      <a:pos x="768" y="1532"/>
                    </a:cxn>
                    <a:cxn ang="0">
                      <a:pos x="816" y="1452"/>
                    </a:cxn>
                    <a:cxn ang="0">
                      <a:pos x="978" y="928"/>
                    </a:cxn>
                    <a:cxn ang="0">
                      <a:pos x="996" y="942"/>
                    </a:cxn>
                    <a:cxn ang="0">
                      <a:pos x="992" y="1208"/>
                    </a:cxn>
                    <a:cxn ang="0">
                      <a:pos x="1088" y="1112"/>
                    </a:cxn>
                    <a:cxn ang="0">
                      <a:pos x="1088" y="854"/>
                    </a:cxn>
                    <a:cxn ang="0">
                      <a:pos x="1138" y="1056"/>
                    </a:cxn>
                    <a:cxn ang="0">
                      <a:pos x="1284" y="1500"/>
                    </a:cxn>
                    <a:cxn ang="0">
                      <a:pos x="1334" y="1528"/>
                    </a:cxn>
                    <a:cxn ang="0">
                      <a:pos x="1406" y="1536"/>
                    </a:cxn>
                    <a:cxn ang="0">
                      <a:pos x="1458" y="1516"/>
                    </a:cxn>
                    <a:cxn ang="0">
                      <a:pos x="1542" y="1592"/>
                    </a:cxn>
                    <a:cxn ang="0">
                      <a:pos x="1626" y="1714"/>
                    </a:cxn>
                    <a:cxn ang="0">
                      <a:pos x="1680" y="1650"/>
                    </a:cxn>
                    <a:cxn ang="0">
                      <a:pos x="1618" y="1546"/>
                    </a:cxn>
                    <a:cxn ang="0">
                      <a:pos x="1560" y="1404"/>
                    </a:cxn>
                    <a:cxn ang="0">
                      <a:pos x="1616" y="1378"/>
                    </a:cxn>
                    <a:cxn ang="0">
                      <a:pos x="1634" y="1294"/>
                    </a:cxn>
                    <a:cxn ang="0">
                      <a:pos x="1706" y="1248"/>
                    </a:cxn>
                    <a:cxn ang="0">
                      <a:pos x="1726" y="1166"/>
                    </a:cxn>
                    <a:cxn ang="0">
                      <a:pos x="1702" y="1004"/>
                    </a:cxn>
                    <a:cxn ang="0">
                      <a:pos x="1528" y="790"/>
                    </a:cxn>
                    <a:cxn ang="0">
                      <a:pos x="1758" y="718"/>
                    </a:cxn>
                    <a:cxn ang="0">
                      <a:pos x="1830" y="612"/>
                    </a:cxn>
                    <a:cxn ang="0">
                      <a:pos x="1868" y="536"/>
                    </a:cxn>
                    <a:cxn ang="0">
                      <a:pos x="1876" y="472"/>
                    </a:cxn>
                    <a:cxn ang="0">
                      <a:pos x="1898" y="394"/>
                    </a:cxn>
                    <a:cxn ang="0">
                      <a:pos x="1964" y="304"/>
                    </a:cxn>
                    <a:cxn ang="0">
                      <a:pos x="2020" y="236"/>
                    </a:cxn>
                    <a:cxn ang="0">
                      <a:pos x="1040" y="574"/>
                    </a:cxn>
                  </a:cxnLst>
                  <a:rect l="0" t="0" r="r" b="b"/>
                  <a:pathLst>
                    <a:path w="2090" h="1714">
                      <a:moveTo>
                        <a:pt x="2088" y="78"/>
                      </a:moveTo>
                      <a:lnTo>
                        <a:pt x="2070" y="44"/>
                      </a:lnTo>
                      <a:lnTo>
                        <a:pt x="2028" y="16"/>
                      </a:lnTo>
                      <a:lnTo>
                        <a:pt x="1964" y="4"/>
                      </a:lnTo>
                      <a:lnTo>
                        <a:pt x="1896" y="0"/>
                      </a:lnTo>
                      <a:lnTo>
                        <a:pt x="1896" y="0"/>
                      </a:lnTo>
                      <a:lnTo>
                        <a:pt x="1876" y="2"/>
                      </a:lnTo>
                      <a:lnTo>
                        <a:pt x="1852" y="4"/>
                      </a:lnTo>
                      <a:lnTo>
                        <a:pt x="1822" y="10"/>
                      </a:lnTo>
                      <a:lnTo>
                        <a:pt x="1784" y="18"/>
                      </a:lnTo>
                      <a:lnTo>
                        <a:pt x="1740" y="30"/>
                      </a:lnTo>
                      <a:lnTo>
                        <a:pt x="1694" y="46"/>
                      </a:lnTo>
                      <a:lnTo>
                        <a:pt x="1642" y="66"/>
                      </a:lnTo>
                      <a:lnTo>
                        <a:pt x="1642" y="66"/>
                      </a:lnTo>
                      <a:lnTo>
                        <a:pt x="1592" y="92"/>
                      </a:lnTo>
                      <a:lnTo>
                        <a:pt x="1544" y="118"/>
                      </a:lnTo>
                      <a:lnTo>
                        <a:pt x="1498" y="148"/>
                      </a:lnTo>
                      <a:lnTo>
                        <a:pt x="1454" y="180"/>
                      </a:lnTo>
                      <a:lnTo>
                        <a:pt x="1410" y="216"/>
                      </a:lnTo>
                      <a:lnTo>
                        <a:pt x="1368" y="254"/>
                      </a:lnTo>
                      <a:lnTo>
                        <a:pt x="1328" y="296"/>
                      </a:lnTo>
                      <a:lnTo>
                        <a:pt x="1286" y="342"/>
                      </a:lnTo>
                      <a:lnTo>
                        <a:pt x="1286" y="342"/>
                      </a:lnTo>
                      <a:lnTo>
                        <a:pt x="1254" y="380"/>
                      </a:lnTo>
                      <a:lnTo>
                        <a:pt x="1224" y="420"/>
                      </a:lnTo>
                      <a:lnTo>
                        <a:pt x="1196" y="462"/>
                      </a:lnTo>
                      <a:lnTo>
                        <a:pt x="1170" y="504"/>
                      </a:lnTo>
                      <a:lnTo>
                        <a:pt x="1124" y="578"/>
                      </a:lnTo>
                      <a:lnTo>
                        <a:pt x="1096" y="632"/>
                      </a:lnTo>
                      <a:lnTo>
                        <a:pt x="1096" y="632"/>
                      </a:lnTo>
                      <a:lnTo>
                        <a:pt x="1092" y="622"/>
                      </a:lnTo>
                      <a:lnTo>
                        <a:pt x="1082" y="608"/>
                      </a:lnTo>
                      <a:lnTo>
                        <a:pt x="1082" y="608"/>
                      </a:lnTo>
                      <a:lnTo>
                        <a:pt x="1086" y="600"/>
                      </a:lnTo>
                      <a:lnTo>
                        <a:pt x="1088" y="592"/>
                      </a:lnTo>
                      <a:lnTo>
                        <a:pt x="1088" y="592"/>
                      </a:lnTo>
                      <a:lnTo>
                        <a:pt x="1086" y="584"/>
                      </a:lnTo>
                      <a:lnTo>
                        <a:pt x="1082" y="576"/>
                      </a:lnTo>
                      <a:lnTo>
                        <a:pt x="1074" y="572"/>
                      </a:lnTo>
                      <a:lnTo>
                        <a:pt x="1066" y="570"/>
                      </a:lnTo>
                      <a:lnTo>
                        <a:pt x="1066" y="570"/>
                      </a:lnTo>
                      <a:lnTo>
                        <a:pt x="1064" y="570"/>
                      </a:lnTo>
                      <a:lnTo>
                        <a:pt x="1066" y="564"/>
                      </a:lnTo>
                      <a:lnTo>
                        <a:pt x="1060" y="564"/>
                      </a:lnTo>
                      <a:lnTo>
                        <a:pt x="1056" y="564"/>
                      </a:lnTo>
                      <a:lnTo>
                        <a:pt x="1056" y="564"/>
                      </a:lnTo>
                      <a:lnTo>
                        <a:pt x="1050" y="558"/>
                      </a:lnTo>
                      <a:lnTo>
                        <a:pt x="1048" y="560"/>
                      </a:lnTo>
                      <a:lnTo>
                        <a:pt x="1048" y="558"/>
                      </a:lnTo>
                      <a:lnTo>
                        <a:pt x="1044" y="562"/>
                      </a:lnTo>
                      <a:lnTo>
                        <a:pt x="1038" y="560"/>
                      </a:lnTo>
                      <a:lnTo>
                        <a:pt x="1038" y="564"/>
                      </a:lnTo>
                      <a:lnTo>
                        <a:pt x="1034" y="564"/>
                      </a:lnTo>
                      <a:lnTo>
                        <a:pt x="1030" y="564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26" y="570"/>
                      </a:lnTo>
                      <a:lnTo>
                        <a:pt x="1026" y="570"/>
                      </a:lnTo>
                      <a:lnTo>
                        <a:pt x="1016" y="572"/>
                      </a:lnTo>
                      <a:lnTo>
                        <a:pt x="1010" y="576"/>
                      </a:lnTo>
                      <a:lnTo>
                        <a:pt x="1004" y="584"/>
                      </a:lnTo>
                      <a:lnTo>
                        <a:pt x="1004" y="592"/>
                      </a:lnTo>
                      <a:lnTo>
                        <a:pt x="1004" y="592"/>
                      </a:lnTo>
                      <a:lnTo>
                        <a:pt x="1004" y="598"/>
                      </a:lnTo>
                      <a:lnTo>
                        <a:pt x="1008" y="604"/>
                      </a:lnTo>
                      <a:lnTo>
                        <a:pt x="1008" y="604"/>
                      </a:lnTo>
                      <a:lnTo>
                        <a:pt x="998" y="618"/>
                      </a:lnTo>
                      <a:lnTo>
                        <a:pt x="992" y="628"/>
                      </a:lnTo>
                      <a:lnTo>
                        <a:pt x="992" y="628"/>
                      </a:lnTo>
                      <a:lnTo>
                        <a:pt x="962" y="574"/>
                      </a:lnTo>
                      <a:lnTo>
                        <a:pt x="918" y="500"/>
                      </a:lnTo>
                      <a:lnTo>
                        <a:pt x="892" y="460"/>
                      </a:lnTo>
                      <a:lnTo>
                        <a:pt x="864" y="420"/>
                      </a:lnTo>
                      <a:lnTo>
                        <a:pt x="834" y="378"/>
                      </a:lnTo>
                      <a:lnTo>
                        <a:pt x="802" y="342"/>
                      </a:lnTo>
                      <a:lnTo>
                        <a:pt x="802" y="342"/>
                      </a:lnTo>
                      <a:lnTo>
                        <a:pt x="762" y="296"/>
                      </a:lnTo>
                      <a:lnTo>
                        <a:pt x="720" y="254"/>
                      </a:lnTo>
                      <a:lnTo>
                        <a:pt x="680" y="216"/>
                      </a:lnTo>
                      <a:lnTo>
                        <a:pt x="636" y="180"/>
                      </a:lnTo>
                      <a:lnTo>
                        <a:pt x="592" y="148"/>
                      </a:lnTo>
                      <a:lnTo>
                        <a:pt x="546" y="118"/>
                      </a:lnTo>
                      <a:lnTo>
                        <a:pt x="498" y="92"/>
                      </a:lnTo>
                      <a:lnTo>
                        <a:pt x="448" y="66"/>
                      </a:lnTo>
                      <a:lnTo>
                        <a:pt x="448" y="66"/>
                      </a:lnTo>
                      <a:lnTo>
                        <a:pt x="396" y="46"/>
                      </a:lnTo>
                      <a:lnTo>
                        <a:pt x="348" y="30"/>
                      </a:lnTo>
                      <a:lnTo>
                        <a:pt x="306" y="18"/>
                      </a:lnTo>
                      <a:lnTo>
                        <a:pt x="268" y="10"/>
                      </a:lnTo>
                      <a:lnTo>
                        <a:pt x="238" y="4"/>
                      </a:lnTo>
                      <a:lnTo>
                        <a:pt x="214" y="2"/>
                      </a:lnTo>
                      <a:lnTo>
                        <a:pt x="194" y="0"/>
                      </a:lnTo>
                      <a:lnTo>
                        <a:pt x="126" y="4"/>
                      </a:lnTo>
                      <a:lnTo>
                        <a:pt x="62" y="16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2"/>
                      </a:lnTo>
                      <a:lnTo>
                        <a:pt x="12" y="154"/>
                      </a:lnTo>
                      <a:lnTo>
                        <a:pt x="34" y="198"/>
                      </a:lnTo>
                      <a:lnTo>
                        <a:pt x="34" y="198"/>
                      </a:lnTo>
                      <a:lnTo>
                        <a:pt x="44" y="214"/>
                      </a:lnTo>
                      <a:lnTo>
                        <a:pt x="56" y="226"/>
                      </a:lnTo>
                      <a:lnTo>
                        <a:pt x="60" y="232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70" y="236"/>
                      </a:lnTo>
                      <a:lnTo>
                        <a:pt x="74" y="240"/>
                      </a:lnTo>
                      <a:lnTo>
                        <a:pt x="80" y="252"/>
                      </a:lnTo>
                      <a:lnTo>
                        <a:pt x="86" y="264"/>
                      </a:lnTo>
                      <a:lnTo>
                        <a:pt x="86" y="264"/>
                      </a:lnTo>
                      <a:lnTo>
                        <a:pt x="94" y="278"/>
                      </a:lnTo>
                      <a:lnTo>
                        <a:pt x="104" y="290"/>
                      </a:lnTo>
                      <a:lnTo>
                        <a:pt x="112" y="296"/>
                      </a:lnTo>
                      <a:lnTo>
                        <a:pt x="118" y="300"/>
                      </a:lnTo>
                      <a:lnTo>
                        <a:pt x="118" y="300"/>
                      </a:lnTo>
                      <a:lnTo>
                        <a:pt x="126" y="304"/>
                      </a:lnTo>
                      <a:lnTo>
                        <a:pt x="132" y="310"/>
                      </a:lnTo>
                      <a:lnTo>
                        <a:pt x="146" y="324"/>
                      </a:lnTo>
                      <a:lnTo>
                        <a:pt x="156" y="340"/>
                      </a:lnTo>
                      <a:lnTo>
                        <a:pt x="160" y="350"/>
                      </a:lnTo>
                      <a:lnTo>
                        <a:pt x="160" y="350"/>
                      </a:lnTo>
                      <a:lnTo>
                        <a:pt x="160" y="354"/>
                      </a:lnTo>
                      <a:lnTo>
                        <a:pt x="164" y="360"/>
                      </a:lnTo>
                      <a:lnTo>
                        <a:pt x="176" y="374"/>
                      </a:lnTo>
                      <a:lnTo>
                        <a:pt x="192" y="394"/>
                      </a:lnTo>
                      <a:lnTo>
                        <a:pt x="192" y="394"/>
                      </a:lnTo>
                      <a:lnTo>
                        <a:pt x="198" y="416"/>
                      </a:lnTo>
                      <a:lnTo>
                        <a:pt x="200" y="434"/>
                      </a:lnTo>
                      <a:lnTo>
                        <a:pt x="198" y="442"/>
                      </a:lnTo>
                      <a:lnTo>
                        <a:pt x="196" y="446"/>
                      </a:lnTo>
                      <a:lnTo>
                        <a:pt x="196" y="446"/>
                      </a:lnTo>
                      <a:lnTo>
                        <a:pt x="194" y="450"/>
                      </a:lnTo>
                      <a:lnTo>
                        <a:pt x="196" y="454"/>
                      </a:lnTo>
                      <a:lnTo>
                        <a:pt x="202" y="462"/>
                      </a:lnTo>
                      <a:lnTo>
                        <a:pt x="214" y="472"/>
                      </a:lnTo>
                      <a:lnTo>
                        <a:pt x="214" y="472"/>
                      </a:lnTo>
                      <a:lnTo>
                        <a:pt x="216" y="476"/>
                      </a:lnTo>
                      <a:lnTo>
                        <a:pt x="222" y="486"/>
                      </a:lnTo>
                      <a:lnTo>
                        <a:pt x="224" y="492"/>
                      </a:lnTo>
                      <a:lnTo>
                        <a:pt x="226" y="498"/>
                      </a:lnTo>
                      <a:lnTo>
                        <a:pt x="226" y="506"/>
                      </a:lnTo>
                      <a:lnTo>
                        <a:pt x="222" y="512"/>
                      </a:lnTo>
                      <a:lnTo>
                        <a:pt x="222" y="512"/>
                      </a:lnTo>
                      <a:lnTo>
                        <a:pt x="220" y="518"/>
                      </a:lnTo>
                      <a:lnTo>
                        <a:pt x="220" y="526"/>
                      </a:lnTo>
                      <a:lnTo>
                        <a:pt x="222" y="536"/>
                      </a:lnTo>
                      <a:lnTo>
                        <a:pt x="226" y="546"/>
                      </a:lnTo>
                      <a:lnTo>
                        <a:pt x="236" y="564"/>
                      </a:lnTo>
                      <a:lnTo>
                        <a:pt x="240" y="572"/>
                      </a:lnTo>
                      <a:lnTo>
                        <a:pt x="244" y="574"/>
                      </a:lnTo>
                      <a:lnTo>
                        <a:pt x="244" y="574"/>
                      </a:lnTo>
                      <a:lnTo>
                        <a:pt x="248" y="578"/>
                      </a:lnTo>
                      <a:lnTo>
                        <a:pt x="250" y="582"/>
                      </a:lnTo>
                      <a:lnTo>
                        <a:pt x="256" y="594"/>
                      </a:lnTo>
                      <a:lnTo>
                        <a:pt x="260" y="612"/>
                      </a:lnTo>
                      <a:lnTo>
                        <a:pt x="260" y="612"/>
                      </a:lnTo>
                      <a:lnTo>
                        <a:pt x="260" y="614"/>
                      </a:lnTo>
                      <a:lnTo>
                        <a:pt x="264" y="624"/>
                      </a:lnTo>
                      <a:lnTo>
                        <a:pt x="272" y="640"/>
                      </a:lnTo>
                      <a:lnTo>
                        <a:pt x="288" y="660"/>
                      </a:lnTo>
                      <a:lnTo>
                        <a:pt x="288" y="660"/>
                      </a:lnTo>
                      <a:lnTo>
                        <a:pt x="304" y="680"/>
                      </a:lnTo>
                      <a:lnTo>
                        <a:pt x="314" y="694"/>
                      </a:lnTo>
                      <a:lnTo>
                        <a:pt x="328" y="714"/>
                      </a:lnTo>
                      <a:lnTo>
                        <a:pt x="328" y="714"/>
                      </a:lnTo>
                      <a:lnTo>
                        <a:pt x="332" y="718"/>
                      </a:lnTo>
                      <a:lnTo>
                        <a:pt x="338" y="724"/>
                      </a:lnTo>
                      <a:lnTo>
                        <a:pt x="356" y="732"/>
                      </a:lnTo>
                      <a:lnTo>
                        <a:pt x="378" y="740"/>
                      </a:lnTo>
                      <a:lnTo>
                        <a:pt x="430" y="746"/>
                      </a:lnTo>
                      <a:lnTo>
                        <a:pt x="484" y="746"/>
                      </a:lnTo>
                      <a:lnTo>
                        <a:pt x="534" y="746"/>
                      </a:lnTo>
                      <a:lnTo>
                        <a:pt x="604" y="752"/>
                      </a:lnTo>
                      <a:lnTo>
                        <a:pt x="622" y="754"/>
                      </a:lnTo>
                      <a:lnTo>
                        <a:pt x="622" y="754"/>
                      </a:lnTo>
                      <a:lnTo>
                        <a:pt x="562" y="790"/>
                      </a:lnTo>
                      <a:lnTo>
                        <a:pt x="518" y="820"/>
                      </a:lnTo>
                      <a:lnTo>
                        <a:pt x="488" y="842"/>
                      </a:lnTo>
                      <a:lnTo>
                        <a:pt x="470" y="858"/>
                      </a:lnTo>
                      <a:lnTo>
                        <a:pt x="462" y="868"/>
                      </a:lnTo>
                      <a:lnTo>
                        <a:pt x="458" y="874"/>
                      </a:lnTo>
                      <a:lnTo>
                        <a:pt x="458" y="876"/>
                      </a:lnTo>
                      <a:lnTo>
                        <a:pt x="458" y="878"/>
                      </a:lnTo>
                      <a:lnTo>
                        <a:pt x="384" y="988"/>
                      </a:lnTo>
                      <a:lnTo>
                        <a:pt x="388" y="1004"/>
                      </a:lnTo>
                      <a:lnTo>
                        <a:pt x="384" y="1022"/>
                      </a:lnTo>
                      <a:lnTo>
                        <a:pt x="366" y="1052"/>
                      </a:lnTo>
                      <a:lnTo>
                        <a:pt x="354" y="1078"/>
                      </a:lnTo>
                      <a:lnTo>
                        <a:pt x="342" y="1124"/>
                      </a:lnTo>
                      <a:lnTo>
                        <a:pt x="342" y="1124"/>
                      </a:lnTo>
                      <a:lnTo>
                        <a:pt x="342" y="1130"/>
                      </a:lnTo>
                      <a:lnTo>
                        <a:pt x="344" y="1142"/>
                      </a:lnTo>
                      <a:lnTo>
                        <a:pt x="348" y="1148"/>
                      </a:lnTo>
                      <a:lnTo>
                        <a:pt x="350" y="1156"/>
                      </a:lnTo>
                      <a:lnTo>
                        <a:pt x="356" y="1162"/>
                      </a:lnTo>
                      <a:lnTo>
                        <a:pt x="364" y="1166"/>
                      </a:lnTo>
                      <a:lnTo>
                        <a:pt x="364" y="1166"/>
                      </a:lnTo>
                      <a:lnTo>
                        <a:pt x="372" y="1170"/>
                      </a:lnTo>
                      <a:lnTo>
                        <a:pt x="376" y="1176"/>
                      </a:lnTo>
                      <a:lnTo>
                        <a:pt x="380" y="1184"/>
                      </a:lnTo>
                      <a:lnTo>
                        <a:pt x="382" y="1192"/>
                      </a:lnTo>
                      <a:lnTo>
                        <a:pt x="380" y="1206"/>
                      </a:lnTo>
                      <a:lnTo>
                        <a:pt x="380" y="1212"/>
                      </a:lnTo>
                      <a:lnTo>
                        <a:pt x="382" y="1244"/>
                      </a:lnTo>
                      <a:lnTo>
                        <a:pt x="382" y="1244"/>
                      </a:lnTo>
                      <a:lnTo>
                        <a:pt x="384" y="1248"/>
                      </a:lnTo>
                      <a:lnTo>
                        <a:pt x="392" y="1258"/>
                      </a:lnTo>
                      <a:lnTo>
                        <a:pt x="398" y="1264"/>
                      </a:lnTo>
                      <a:lnTo>
                        <a:pt x="406" y="1268"/>
                      </a:lnTo>
                      <a:lnTo>
                        <a:pt x="416" y="1272"/>
                      </a:lnTo>
                      <a:lnTo>
                        <a:pt x="428" y="1272"/>
                      </a:lnTo>
                      <a:lnTo>
                        <a:pt x="428" y="1272"/>
                      </a:lnTo>
                      <a:lnTo>
                        <a:pt x="440" y="1274"/>
                      </a:lnTo>
                      <a:lnTo>
                        <a:pt x="448" y="1280"/>
                      </a:lnTo>
                      <a:lnTo>
                        <a:pt x="452" y="1286"/>
                      </a:lnTo>
                      <a:lnTo>
                        <a:pt x="456" y="1294"/>
                      </a:lnTo>
                      <a:lnTo>
                        <a:pt x="458" y="1310"/>
                      </a:lnTo>
                      <a:lnTo>
                        <a:pt x="458" y="1316"/>
                      </a:lnTo>
                      <a:lnTo>
                        <a:pt x="458" y="1316"/>
                      </a:lnTo>
                      <a:lnTo>
                        <a:pt x="456" y="1338"/>
                      </a:lnTo>
                      <a:lnTo>
                        <a:pt x="458" y="1354"/>
                      </a:lnTo>
                      <a:lnTo>
                        <a:pt x="458" y="1360"/>
                      </a:lnTo>
                      <a:lnTo>
                        <a:pt x="460" y="1364"/>
                      </a:lnTo>
                      <a:lnTo>
                        <a:pt x="460" y="1364"/>
                      </a:lnTo>
                      <a:lnTo>
                        <a:pt x="468" y="1374"/>
                      </a:lnTo>
                      <a:lnTo>
                        <a:pt x="474" y="1378"/>
                      </a:lnTo>
                      <a:lnTo>
                        <a:pt x="486" y="1380"/>
                      </a:lnTo>
                      <a:lnTo>
                        <a:pt x="486" y="1380"/>
                      </a:lnTo>
                      <a:lnTo>
                        <a:pt x="502" y="1380"/>
                      </a:lnTo>
                      <a:lnTo>
                        <a:pt x="514" y="1384"/>
                      </a:lnTo>
                      <a:lnTo>
                        <a:pt x="522" y="1390"/>
                      </a:lnTo>
                      <a:lnTo>
                        <a:pt x="526" y="1394"/>
                      </a:lnTo>
                      <a:lnTo>
                        <a:pt x="526" y="1396"/>
                      </a:lnTo>
                      <a:lnTo>
                        <a:pt x="526" y="1396"/>
                      </a:lnTo>
                      <a:lnTo>
                        <a:pt x="526" y="1400"/>
                      </a:lnTo>
                      <a:lnTo>
                        <a:pt x="530" y="1404"/>
                      </a:lnTo>
                      <a:lnTo>
                        <a:pt x="532" y="1408"/>
                      </a:lnTo>
                      <a:lnTo>
                        <a:pt x="534" y="1414"/>
                      </a:lnTo>
                      <a:lnTo>
                        <a:pt x="536" y="1422"/>
                      </a:lnTo>
                      <a:lnTo>
                        <a:pt x="536" y="1432"/>
                      </a:lnTo>
                      <a:lnTo>
                        <a:pt x="532" y="1446"/>
                      </a:lnTo>
                      <a:lnTo>
                        <a:pt x="524" y="1462"/>
                      </a:lnTo>
                      <a:lnTo>
                        <a:pt x="524" y="1462"/>
                      </a:lnTo>
                      <a:lnTo>
                        <a:pt x="492" y="1522"/>
                      </a:lnTo>
                      <a:lnTo>
                        <a:pt x="478" y="1540"/>
                      </a:lnTo>
                      <a:lnTo>
                        <a:pt x="472" y="1546"/>
                      </a:lnTo>
                      <a:lnTo>
                        <a:pt x="466" y="1550"/>
                      </a:lnTo>
                      <a:lnTo>
                        <a:pt x="466" y="1550"/>
                      </a:lnTo>
                      <a:lnTo>
                        <a:pt x="460" y="1554"/>
                      </a:lnTo>
                      <a:lnTo>
                        <a:pt x="454" y="1560"/>
                      </a:lnTo>
                      <a:lnTo>
                        <a:pt x="440" y="1578"/>
                      </a:lnTo>
                      <a:lnTo>
                        <a:pt x="424" y="1604"/>
                      </a:lnTo>
                      <a:lnTo>
                        <a:pt x="424" y="1604"/>
                      </a:lnTo>
                      <a:lnTo>
                        <a:pt x="420" y="1614"/>
                      </a:lnTo>
                      <a:lnTo>
                        <a:pt x="412" y="1636"/>
                      </a:lnTo>
                      <a:lnTo>
                        <a:pt x="410" y="1650"/>
                      </a:lnTo>
                      <a:lnTo>
                        <a:pt x="408" y="1666"/>
                      </a:lnTo>
                      <a:lnTo>
                        <a:pt x="410" y="1680"/>
                      </a:lnTo>
                      <a:lnTo>
                        <a:pt x="414" y="1686"/>
                      </a:lnTo>
                      <a:lnTo>
                        <a:pt x="416" y="1692"/>
                      </a:lnTo>
                      <a:lnTo>
                        <a:pt x="416" y="1692"/>
                      </a:lnTo>
                      <a:lnTo>
                        <a:pt x="426" y="1702"/>
                      </a:lnTo>
                      <a:lnTo>
                        <a:pt x="438" y="1710"/>
                      </a:lnTo>
                      <a:lnTo>
                        <a:pt x="450" y="1714"/>
                      </a:lnTo>
                      <a:lnTo>
                        <a:pt x="456" y="1714"/>
                      </a:lnTo>
                      <a:lnTo>
                        <a:pt x="464" y="1714"/>
                      </a:lnTo>
                      <a:lnTo>
                        <a:pt x="470" y="1712"/>
                      </a:lnTo>
                      <a:lnTo>
                        <a:pt x="478" y="1710"/>
                      </a:lnTo>
                      <a:lnTo>
                        <a:pt x="486" y="1704"/>
                      </a:lnTo>
                      <a:lnTo>
                        <a:pt x="492" y="1698"/>
                      </a:lnTo>
                      <a:lnTo>
                        <a:pt x="500" y="1690"/>
                      </a:lnTo>
                      <a:lnTo>
                        <a:pt x="508" y="1678"/>
                      </a:lnTo>
                      <a:lnTo>
                        <a:pt x="514" y="1666"/>
                      </a:lnTo>
                      <a:lnTo>
                        <a:pt x="522" y="1650"/>
                      </a:lnTo>
                      <a:lnTo>
                        <a:pt x="522" y="1650"/>
                      </a:lnTo>
                      <a:lnTo>
                        <a:pt x="548" y="1592"/>
                      </a:lnTo>
                      <a:lnTo>
                        <a:pt x="568" y="1554"/>
                      </a:lnTo>
                      <a:lnTo>
                        <a:pt x="582" y="1532"/>
                      </a:lnTo>
                      <a:lnTo>
                        <a:pt x="586" y="1526"/>
                      </a:lnTo>
                      <a:lnTo>
                        <a:pt x="586" y="1526"/>
                      </a:lnTo>
                      <a:lnTo>
                        <a:pt x="590" y="1522"/>
                      </a:lnTo>
                      <a:lnTo>
                        <a:pt x="594" y="1518"/>
                      </a:lnTo>
                      <a:lnTo>
                        <a:pt x="600" y="1516"/>
                      </a:lnTo>
                      <a:lnTo>
                        <a:pt x="608" y="1514"/>
                      </a:lnTo>
                      <a:lnTo>
                        <a:pt x="620" y="1514"/>
                      </a:lnTo>
                      <a:lnTo>
                        <a:pt x="632" y="1516"/>
                      </a:lnTo>
                      <a:lnTo>
                        <a:pt x="648" y="1520"/>
                      </a:lnTo>
                      <a:lnTo>
                        <a:pt x="648" y="1520"/>
                      </a:lnTo>
                      <a:lnTo>
                        <a:pt x="662" y="1528"/>
                      </a:lnTo>
                      <a:lnTo>
                        <a:pt x="668" y="1532"/>
                      </a:lnTo>
                      <a:lnTo>
                        <a:pt x="670" y="1536"/>
                      </a:lnTo>
                      <a:lnTo>
                        <a:pt x="668" y="1536"/>
                      </a:lnTo>
                      <a:lnTo>
                        <a:pt x="664" y="1538"/>
                      </a:lnTo>
                      <a:lnTo>
                        <a:pt x="670" y="1538"/>
                      </a:lnTo>
                      <a:lnTo>
                        <a:pt x="670" y="1538"/>
                      </a:lnTo>
                      <a:lnTo>
                        <a:pt x="682" y="1536"/>
                      </a:lnTo>
                      <a:lnTo>
                        <a:pt x="692" y="1532"/>
                      </a:lnTo>
                      <a:lnTo>
                        <a:pt x="700" y="1528"/>
                      </a:lnTo>
                      <a:lnTo>
                        <a:pt x="700" y="1528"/>
                      </a:lnTo>
                      <a:lnTo>
                        <a:pt x="708" y="1522"/>
                      </a:lnTo>
                      <a:lnTo>
                        <a:pt x="716" y="1518"/>
                      </a:lnTo>
                      <a:lnTo>
                        <a:pt x="724" y="1516"/>
                      </a:lnTo>
                      <a:lnTo>
                        <a:pt x="724" y="1516"/>
                      </a:lnTo>
                      <a:lnTo>
                        <a:pt x="734" y="1518"/>
                      </a:lnTo>
                      <a:lnTo>
                        <a:pt x="744" y="1522"/>
                      </a:lnTo>
                      <a:lnTo>
                        <a:pt x="754" y="1528"/>
                      </a:lnTo>
                      <a:lnTo>
                        <a:pt x="754" y="1528"/>
                      </a:lnTo>
                      <a:lnTo>
                        <a:pt x="758" y="1530"/>
                      </a:lnTo>
                      <a:lnTo>
                        <a:pt x="768" y="1532"/>
                      </a:lnTo>
                      <a:lnTo>
                        <a:pt x="774" y="1532"/>
                      </a:lnTo>
                      <a:lnTo>
                        <a:pt x="780" y="1532"/>
                      </a:lnTo>
                      <a:lnTo>
                        <a:pt x="786" y="1528"/>
                      </a:lnTo>
                      <a:lnTo>
                        <a:pt x="794" y="1520"/>
                      </a:lnTo>
                      <a:lnTo>
                        <a:pt x="794" y="1520"/>
                      </a:lnTo>
                      <a:lnTo>
                        <a:pt x="800" y="1512"/>
                      </a:lnTo>
                      <a:lnTo>
                        <a:pt x="806" y="1500"/>
                      </a:lnTo>
                      <a:lnTo>
                        <a:pt x="812" y="1478"/>
                      </a:lnTo>
                      <a:lnTo>
                        <a:pt x="816" y="1458"/>
                      </a:lnTo>
                      <a:lnTo>
                        <a:pt x="816" y="1452"/>
                      </a:lnTo>
                      <a:lnTo>
                        <a:pt x="840" y="1406"/>
                      </a:lnTo>
                      <a:lnTo>
                        <a:pt x="844" y="1388"/>
                      </a:lnTo>
                      <a:lnTo>
                        <a:pt x="870" y="1386"/>
                      </a:lnTo>
                      <a:lnTo>
                        <a:pt x="894" y="1318"/>
                      </a:lnTo>
                      <a:lnTo>
                        <a:pt x="922" y="1204"/>
                      </a:lnTo>
                      <a:lnTo>
                        <a:pt x="952" y="1056"/>
                      </a:lnTo>
                      <a:lnTo>
                        <a:pt x="970" y="942"/>
                      </a:lnTo>
                      <a:lnTo>
                        <a:pt x="970" y="942"/>
                      </a:lnTo>
                      <a:lnTo>
                        <a:pt x="974" y="940"/>
                      </a:lnTo>
                      <a:lnTo>
                        <a:pt x="978" y="928"/>
                      </a:lnTo>
                      <a:lnTo>
                        <a:pt x="984" y="908"/>
                      </a:lnTo>
                      <a:lnTo>
                        <a:pt x="986" y="894"/>
                      </a:lnTo>
                      <a:lnTo>
                        <a:pt x="988" y="880"/>
                      </a:lnTo>
                      <a:lnTo>
                        <a:pt x="988" y="880"/>
                      </a:lnTo>
                      <a:lnTo>
                        <a:pt x="990" y="866"/>
                      </a:lnTo>
                      <a:lnTo>
                        <a:pt x="994" y="858"/>
                      </a:lnTo>
                      <a:lnTo>
                        <a:pt x="1000" y="856"/>
                      </a:lnTo>
                      <a:lnTo>
                        <a:pt x="1004" y="854"/>
                      </a:lnTo>
                      <a:lnTo>
                        <a:pt x="1004" y="880"/>
                      </a:lnTo>
                      <a:lnTo>
                        <a:pt x="996" y="942"/>
                      </a:lnTo>
                      <a:lnTo>
                        <a:pt x="998" y="962"/>
                      </a:lnTo>
                      <a:lnTo>
                        <a:pt x="990" y="990"/>
                      </a:lnTo>
                      <a:lnTo>
                        <a:pt x="990" y="1034"/>
                      </a:lnTo>
                      <a:lnTo>
                        <a:pt x="990" y="1046"/>
                      </a:lnTo>
                      <a:lnTo>
                        <a:pt x="990" y="1108"/>
                      </a:lnTo>
                      <a:lnTo>
                        <a:pt x="998" y="1112"/>
                      </a:lnTo>
                      <a:lnTo>
                        <a:pt x="998" y="1122"/>
                      </a:lnTo>
                      <a:lnTo>
                        <a:pt x="990" y="1130"/>
                      </a:lnTo>
                      <a:lnTo>
                        <a:pt x="992" y="1160"/>
                      </a:lnTo>
                      <a:lnTo>
                        <a:pt x="992" y="1208"/>
                      </a:lnTo>
                      <a:lnTo>
                        <a:pt x="1010" y="1248"/>
                      </a:lnTo>
                      <a:lnTo>
                        <a:pt x="1040" y="1274"/>
                      </a:lnTo>
                      <a:lnTo>
                        <a:pt x="1044" y="1246"/>
                      </a:lnTo>
                      <a:lnTo>
                        <a:pt x="1048" y="1274"/>
                      </a:lnTo>
                      <a:lnTo>
                        <a:pt x="1078" y="1248"/>
                      </a:lnTo>
                      <a:lnTo>
                        <a:pt x="1096" y="1208"/>
                      </a:lnTo>
                      <a:lnTo>
                        <a:pt x="1096" y="1160"/>
                      </a:lnTo>
                      <a:lnTo>
                        <a:pt x="1098" y="1130"/>
                      </a:lnTo>
                      <a:lnTo>
                        <a:pt x="1088" y="1122"/>
                      </a:lnTo>
                      <a:lnTo>
                        <a:pt x="1088" y="1112"/>
                      </a:lnTo>
                      <a:lnTo>
                        <a:pt x="1098" y="1108"/>
                      </a:lnTo>
                      <a:lnTo>
                        <a:pt x="1098" y="1046"/>
                      </a:lnTo>
                      <a:lnTo>
                        <a:pt x="1098" y="1034"/>
                      </a:lnTo>
                      <a:lnTo>
                        <a:pt x="1098" y="990"/>
                      </a:lnTo>
                      <a:lnTo>
                        <a:pt x="1088" y="962"/>
                      </a:lnTo>
                      <a:lnTo>
                        <a:pt x="1090" y="942"/>
                      </a:lnTo>
                      <a:lnTo>
                        <a:pt x="1084" y="880"/>
                      </a:lnTo>
                      <a:lnTo>
                        <a:pt x="1082" y="856"/>
                      </a:lnTo>
                      <a:lnTo>
                        <a:pt x="1082" y="856"/>
                      </a:lnTo>
                      <a:lnTo>
                        <a:pt x="1088" y="854"/>
                      </a:lnTo>
                      <a:lnTo>
                        <a:pt x="1094" y="858"/>
                      </a:lnTo>
                      <a:lnTo>
                        <a:pt x="1100" y="866"/>
                      </a:lnTo>
                      <a:lnTo>
                        <a:pt x="1102" y="880"/>
                      </a:lnTo>
                      <a:lnTo>
                        <a:pt x="1102" y="880"/>
                      </a:lnTo>
                      <a:lnTo>
                        <a:pt x="1102" y="894"/>
                      </a:lnTo>
                      <a:lnTo>
                        <a:pt x="1106" y="908"/>
                      </a:lnTo>
                      <a:lnTo>
                        <a:pt x="1112" y="928"/>
                      </a:lnTo>
                      <a:lnTo>
                        <a:pt x="1116" y="940"/>
                      </a:lnTo>
                      <a:lnTo>
                        <a:pt x="1120" y="942"/>
                      </a:lnTo>
                      <a:lnTo>
                        <a:pt x="1138" y="1056"/>
                      </a:lnTo>
                      <a:lnTo>
                        <a:pt x="1168" y="1204"/>
                      </a:lnTo>
                      <a:lnTo>
                        <a:pt x="1196" y="1318"/>
                      </a:lnTo>
                      <a:lnTo>
                        <a:pt x="1220" y="1386"/>
                      </a:lnTo>
                      <a:lnTo>
                        <a:pt x="1246" y="1388"/>
                      </a:lnTo>
                      <a:lnTo>
                        <a:pt x="1250" y="1406"/>
                      </a:lnTo>
                      <a:lnTo>
                        <a:pt x="1274" y="1452"/>
                      </a:lnTo>
                      <a:lnTo>
                        <a:pt x="1274" y="1452"/>
                      </a:lnTo>
                      <a:lnTo>
                        <a:pt x="1274" y="1458"/>
                      </a:lnTo>
                      <a:lnTo>
                        <a:pt x="1278" y="1478"/>
                      </a:lnTo>
                      <a:lnTo>
                        <a:pt x="1284" y="1500"/>
                      </a:lnTo>
                      <a:lnTo>
                        <a:pt x="1290" y="1512"/>
                      </a:lnTo>
                      <a:lnTo>
                        <a:pt x="1296" y="1520"/>
                      </a:lnTo>
                      <a:lnTo>
                        <a:pt x="1296" y="1520"/>
                      </a:lnTo>
                      <a:lnTo>
                        <a:pt x="1304" y="1528"/>
                      </a:lnTo>
                      <a:lnTo>
                        <a:pt x="1310" y="1532"/>
                      </a:lnTo>
                      <a:lnTo>
                        <a:pt x="1316" y="1532"/>
                      </a:lnTo>
                      <a:lnTo>
                        <a:pt x="1322" y="1532"/>
                      </a:lnTo>
                      <a:lnTo>
                        <a:pt x="1332" y="1530"/>
                      </a:lnTo>
                      <a:lnTo>
                        <a:pt x="1334" y="1528"/>
                      </a:lnTo>
                      <a:lnTo>
                        <a:pt x="1334" y="1528"/>
                      </a:lnTo>
                      <a:lnTo>
                        <a:pt x="1346" y="1522"/>
                      </a:lnTo>
                      <a:lnTo>
                        <a:pt x="1356" y="1518"/>
                      </a:lnTo>
                      <a:lnTo>
                        <a:pt x="1366" y="1516"/>
                      </a:lnTo>
                      <a:lnTo>
                        <a:pt x="1366" y="1516"/>
                      </a:lnTo>
                      <a:lnTo>
                        <a:pt x="1374" y="1518"/>
                      </a:lnTo>
                      <a:lnTo>
                        <a:pt x="1382" y="1522"/>
                      </a:lnTo>
                      <a:lnTo>
                        <a:pt x="1390" y="1528"/>
                      </a:lnTo>
                      <a:lnTo>
                        <a:pt x="1390" y="1528"/>
                      </a:lnTo>
                      <a:lnTo>
                        <a:pt x="1398" y="1532"/>
                      </a:lnTo>
                      <a:lnTo>
                        <a:pt x="1406" y="1536"/>
                      </a:lnTo>
                      <a:lnTo>
                        <a:pt x="1420" y="1538"/>
                      </a:lnTo>
                      <a:lnTo>
                        <a:pt x="1420" y="1538"/>
                      </a:lnTo>
                      <a:lnTo>
                        <a:pt x="1426" y="1538"/>
                      </a:lnTo>
                      <a:lnTo>
                        <a:pt x="1422" y="1536"/>
                      </a:lnTo>
                      <a:lnTo>
                        <a:pt x="1420" y="1536"/>
                      </a:lnTo>
                      <a:lnTo>
                        <a:pt x="1422" y="1532"/>
                      </a:lnTo>
                      <a:lnTo>
                        <a:pt x="1428" y="1528"/>
                      </a:lnTo>
                      <a:lnTo>
                        <a:pt x="1442" y="1520"/>
                      </a:lnTo>
                      <a:lnTo>
                        <a:pt x="1442" y="1520"/>
                      </a:lnTo>
                      <a:lnTo>
                        <a:pt x="1458" y="1516"/>
                      </a:lnTo>
                      <a:lnTo>
                        <a:pt x="1470" y="1514"/>
                      </a:lnTo>
                      <a:lnTo>
                        <a:pt x="1482" y="1514"/>
                      </a:lnTo>
                      <a:lnTo>
                        <a:pt x="1490" y="1516"/>
                      </a:lnTo>
                      <a:lnTo>
                        <a:pt x="1496" y="1518"/>
                      </a:lnTo>
                      <a:lnTo>
                        <a:pt x="1500" y="1522"/>
                      </a:lnTo>
                      <a:lnTo>
                        <a:pt x="1502" y="1526"/>
                      </a:lnTo>
                      <a:lnTo>
                        <a:pt x="1502" y="1526"/>
                      </a:lnTo>
                      <a:lnTo>
                        <a:pt x="1508" y="1532"/>
                      </a:lnTo>
                      <a:lnTo>
                        <a:pt x="1522" y="1554"/>
                      </a:lnTo>
                      <a:lnTo>
                        <a:pt x="1542" y="1592"/>
                      </a:lnTo>
                      <a:lnTo>
                        <a:pt x="1568" y="1650"/>
                      </a:lnTo>
                      <a:lnTo>
                        <a:pt x="1568" y="1650"/>
                      </a:lnTo>
                      <a:lnTo>
                        <a:pt x="1576" y="1666"/>
                      </a:lnTo>
                      <a:lnTo>
                        <a:pt x="1582" y="1678"/>
                      </a:lnTo>
                      <a:lnTo>
                        <a:pt x="1590" y="1690"/>
                      </a:lnTo>
                      <a:lnTo>
                        <a:pt x="1598" y="1698"/>
                      </a:lnTo>
                      <a:lnTo>
                        <a:pt x="1604" y="1704"/>
                      </a:lnTo>
                      <a:lnTo>
                        <a:pt x="1612" y="1710"/>
                      </a:lnTo>
                      <a:lnTo>
                        <a:pt x="1620" y="1712"/>
                      </a:lnTo>
                      <a:lnTo>
                        <a:pt x="1626" y="1714"/>
                      </a:lnTo>
                      <a:lnTo>
                        <a:pt x="1634" y="1714"/>
                      </a:lnTo>
                      <a:lnTo>
                        <a:pt x="1640" y="1714"/>
                      </a:lnTo>
                      <a:lnTo>
                        <a:pt x="1652" y="1710"/>
                      </a:lnTo>
                      <a:lnTo>
                        <a:pt x="1664" y="1702"/>
                      </a:lnTo>
                      <a:lnTo>
                        <a:pt x="1672" y="1692"/>
                      </a:lnTo>
                      <a:lnTo>
                        <a:pt x="1672" y="1692"/>
                      </a:lnTo>
                      <a:lnTo>
                        <a:pt x="1676" y="1686"/>
                      </a:lnTo>
                      <a:lnTo>
                        <a:pt x="1678" y="1680"/>
                      </a:lnTo>
                      <a:lnTo>
                        <a:pt x="1682" y="1666"/>
                      </a:lnTo>
                      <a:lnTo>
                        <a:pt x="1680" y="1650"/>
                      </a:lnTo>
                      <a:lnTo>
                        <a:pt x="1678" y="1636"/>
                      </a:lnTo>
                      <a:lnTo>
                        <a:pt x="1670" y="1614"/>
                      </a:lnTo>
                      <a:lnTo>
                        <a:pt x="1666" y="1604"/>
                      </a:lnTo>
                      <a:lnTo>
                        <a:pt x="1666" y="1604"/>
                      </a:lnTo>
                      <a:lnTo>
                        <a:pt x="1650" y="1578"/>
                      </a:lnTo>
                      <a:lnTo>
                        <a:pt x="1636" y="1560"/>
                      </a:lnTo>
                      <a:lnTo>
                        <a:pt x="1630" y="1554"/>
                      </a:lnTo>
                      <a:lnTo>
                        <a:pt x="1622" y="1550"/>
                      </a:lnTo>
                      <a:lnTo>
                        <a:pt x="1622" y="1550"/>
                      </a:lnTo>
                      <a:lnTo>
                        <a:pt x="1618" y="1546"/>
                      </a:lnTo>
                      <a:lnTo>
                        <a:pt x="1612" y="1540"/>
                      </a:lnTo>
                      <a:lnTo>
                        <a:pt x="1598" y="1522"/>
                      </a:lnTo>
                      <a:lnTo>
                        <a:pt x="1566" y="1462"/>
                      </a:lnTo>
                      <a:lnTo>
                        <a:pt x="1566" y="1462"/>
                      </a:lnTo>
                      <a:lnTo>
                        <a:pt x="1558" y="1446"/>
                      </a:lnTo>
                      <a:lnTo>
                        <a:pt x="1554" y="1432"/>
                      </a:lnTo>
                      <a:lnTo>
                        <a:pt x="1554" y="1422"/>
                      </a:lnTo>
                      <a:lnTo>
                        <a:pt x="1556" y="1414"/>
                      </a:lnTo>
                      <a:lnTo>
                        <a:pt x="1558" y="1408"/>
                      </a:lnTo>
                      <a:lnTo>
                        <a:pt x="1560" y="1404"/>
                      </a:lnTo>
                      <a:lnTo>
                        <a:pt x="1562" y="1400"/>
                      </a:lnTo>
                      <a:lnTo>
                        <a:pt x="1564" y="1396"/>
                      </a:lnTo>
                      <a:lnTo>
                        <a:pt x="1564" y="1396"/>
                      </a:lnTo>
                      <a:lnTo>
                        <a:pt x="1564" y="1394"/>
                      </a:lnTo>
                      <a:lnTo>
                        <a:pt x="1566" y="1390"/>
                      </a:lnTo>
                      <a:lnTo>
                        <a:pt x="1576" y="1384"/>
                      </a:lnTo>
                      <a:lnTo>
                        <a:pt x="1588" y="1380"/>
                      </a:lnTo>
                      <a:lnTo>
                        <a:pt x="1604" y="1380"/>
                      </a:lnTo>
                      <a:lnTo>
                        <a:pt x="1604" y="1380"/>
                      </a:lnTo>
                      <a:lnTo>
                        <a:pt x="1616" y="1378"/>
                      </a:lnTo>
                      <a:lnTo>
                        <a:pt x="1622" y="1374"/>
                      </a:lnTo>
                      <a:lnTo>
                        <a:pt x="1630" y="1364"/>
                      </a:lnTo>
                      <a:lnTo>
                        <a:pt x="1630" y="1364"/>
                      </a:lnTo>
                      <a:lnTo>
                        <a:pt x="1632" y="1360"/>
                      </a:lnTo>
                      <a:lnTo>
                        <a:pt x="1632" y="1354"/>
                      </a:lnTo>
                      <a:lnTo>
                        <a:pt x="1632" y="1338"/>
                      </a:lnTo>
                      <a:lnTo>
                        <a:pt x="1632" y="1316"/>
                      </a:lnTo>
                      <a:lnTo>
                        <a:pt x="1632" y="1316"/>
                      </a:lnTo>
                      <a:lnTo>
                        <a:pt x="1632" y="1310"/>
                      </a:lnTo>
                      <a:lnTo>
                        <a:pt x="1634" y="1294"/>
                      </a:lnTo>
                      <a:lnTo>
                        <a:pt x="1638" y="1286"/>
                      </a:lnTo>
                      <a:lnTo>
                        <a:pt x="1642" y="1280"/>
                      </a:lnTo>
                      <a:lnTo>
                        <a:pt x="1650" y="1274"/>
                      </a:lnTo>
                      <a:lnTo>
                        <a:pt x="1662" y="1272"/>
                      </a:lnTo>
                      <a:lnTo>
                        <a:pt x="1662" y="1272"/>
                      </a:lnTo>
                      <a:lnTo>
                        <a:pt x="1674" y="1272"/>
                      </a:lnTo>
                      <a:lnTo>
                        <a:pt x="1684" y="1268"/>
                      </a:lnTo>
                      <a:lnTo>
                        <a:pt x="1692" y="1264"/>
                      </a:lnTo>
                      <a:lnTo>
                        <a:pt x="1698" y="1258"/>
                      </a:lnTo>
                      <a:lnTo>
                        <a:pt x="1706" y="1248"/>
                      </a:lnTo>
                      <a:lnTo>
                        <a:pt x="1708" y="1244"/>
                      </a:lnTo>
                      <a:lnTo>
                        <a:pt x="1710" y="1212"/>
                      </a:lnTo>
                      <a:lnTo>
                        <a:pt x="1710" y="1212"/>
                      </a:lnTo>
                      <a:lnTo>
                        <a:pt x="1710" y="1206"/>
                      </a:lnTo>
                      <a:lnTo>
                        <a:pt x="1708" y="1192"/>
                      </a:lnTo>
                      <a:lnTo>
                        <a:pt x="1710" y="1184"/>
                      </a:lnTo>
                      <a:lnTo>
                        <a:pt x="1712" y="1176"/>
                      </a:lnTo>
                      <a:lnTo>
                        <a:pt x="1718" y="1170"/>
                      </a:lnTo>
                      <a:lnTo>
                        <a:pt x="1726" y="1166"/>
                      </a:lnTo>
                      <a:lnTo>
                        <a:pt x="1726" y="1166"/>
                      </a:lnTo>
                      <a:lnTo>
                        <a:pt x="1734" y="1162"/>
                      </a:lnTo>
                      <a:lnTo>
                        <a:pt x="1738" y="1156"/>
                      </a:lnTo>
                      <a:lnTo>
                        <a:pt x="1742" y="1148"/>
                      </a:lnTo>
                      <a:lnTo>
                        <a:pt x="1746" y="1142"/>
                      </a:lnTo>
                      <a:lnTo>
                        <a:pt x="1748" y="1130"/>
                      </a:lnTo>
                      <a:lnTo>
                        <a:pt x="1748" y="1124"/>
                      </a:lnTo>
                      <a:lnTo>
                        <a:pt x="1736" y="1078"/>
                      </a:lnTo>
                      <a:lnTo>
                        <a:pt x="1724" y="1052"/>
                      </a:lnTo>
                      <a:lnTo>
                        <a:pt x="1706" y="1022"/>
                      </a:lnTo>
                      <a:lnTo>
                        <a:pt x="1702" y="1004"/>
                      </a:lnTo>
                      <a:lnTo>
                        <a:pt x="1706" y="988"/>
                      </a:lnTo>
                      <a:lnTo>
                        <a:pt x="1632" y="878"/>
                      </a:lnTo>
                      <a:lnTo>
                        <a:pt x="1632" y="878"/>
                      </a:lnTo>
                      <a:lnTo>
                        <a:pt x="1632" y="876"/>
                      </a:lnTo>
                      <a:lnTo>
                        <a:pt x="1632" y="874"/>
                      </a:lnTo>
                      <a:lnTo>
                        <a:pt x="1628" y="868"/>
                      </a:lnTo>
                      <a:lnTo>
                        <a:pt x="1620" y="858"/>
                      </a:lnTo>
                      <a:lnTo>
                        <a:pt x="1600" y="842"/>
                      </a:lnTo>
                      <a:lnTo>
                        <a:pt x="1572" y="820"/>
                      </a:lnTo>
                      <a:lnTo>
                        <a:pt x="1528" y="790"/>
                      </a:lnTo>
                      <a:lnTo>
                        <a:pt x="1466" y="754"/>
                      </a:lnTo>
                      <a:lnTo>
                        <a:pt x="1486" y="752"/>
                      </a:lnTo>
                      <a:lnTo>
                        <a:pt x="1556" y="746"/>
                      </a:lnTo>
                      <a:lnTo>
                        <a:pt x="1606" y="746"/>
                      </a:lnTo>
                      <a:lnTo>
                        <a:pt x="1660" y="746"/>
                      </a:lnTo>
                      <a:lnTo>
                        <a:pt x="1712" y="740"/>
                      </a:lnTo>
                      <a:lnTo>
                        <a:pt x="1712" y="740"/>
                      </a:lnTo>
                      <a:lnTo>
                        <a:pt x="1734" y="732"/>
                      </a:lnTo>
                      <a:lnTo>
                        <a:pt x="1750" y="724"/>
                      </a:lnTo>
                      <a:lnTo>
                        <a:pt x="1758" y="718"/>
                      </a:lnTo>
                      <a:lnTo>
                        <a:pt x="1762" y="714"/>
                      </a:lnTo>
                      <a:lnTo>
                        <a:pt x="1762" y="714"/>
                      </a:lnTo>
                      <a:lnTo>
                        <a:pt x="1776" y="694"/>
                      </a:lnTo>
                      <a:lnTo>
                        <a:pt x="1786" y="680"/>
                      </a:lnTo>
                      <a:lnTo>
                        <a:pt x="1802" y="660"/>
                      </a:lnTo>
                      <a:lnTo>
                        <a:pt x="1802" y="660"/>
                      </a:lnTo>
                      <a:lnTo>
                        <a:pt x="1818" y="640"/>
                      </a:lnTo>
                      <a:lnTo>
                        <a:pt x="1826" y="624"/>
                      </a:lnTo>
                      <a:lnTo>
                        <a:pt x="1830" y="614"/>
                      </a:lnTo>
                      <a:lnTo>
                        <a:pt x="1830" y="612"/>
                      </a:lnTo>
                      <a:lnTo>
                        <a:pt x="1830" y="612"/>
                      </a:lnTo>
                      <a:lnTo>
                        <a:pt x="1834" y="594"/>
                      </a:lnTo>
                      <a:lnTo>
                        <a:pt x="1840" y="582"/>
                      </a:lnTo>
                      <a:lnTo>
                        <a:pt x="1842" y="578"/>
                      </a:lnTo>
                      <a:lnTo>
                        <a:pt x="1846" y="574"/>
                      </a:lnTo>
                      <a:lnTo>
                        <a:pt x="1846" y="574"/>
                      </a:lnTo>
                      <a:lnTo>
                        <a:pt x="1850" y="572"/>
                      </a:lnTo>
                      <a:lnTo>
                        <a:pt x="1854" y="564"/>
                      </a:lnTo>
                      <a:lnTo>
                        <a:pt x="1864" y="546"/>
                      </a:lnTo>
                      <a:lnTo>
                        <a:pt x="1868" y="536"/>
                      </a:lnTo>
                      <a:lnTo>
                        <a:pt x="1870" y="526"/>
                      </a:lnTo>
                      <a:lnTo>
                        <a:pt x="1870" y="518"/>
                      </a:lnTo>
                      <a:lnTo>
                        <a:pt x="1868" y="512"/>
                      </a:lnTo>
                      <a:lnTo>
                        <a:pt x="1868" y="512"/>
                      </a:lnTo>
                      <a:lnTo>
                        <a:pt x="1864" y="506"/>
                      </a:lnTo>
                      <a:lnTo>
                        <a:pt x="1864" y="498"/>
                      </a:lnTo>
                      <a:lnTo>
                        <a:pt x="1866" y="492"/>
                      </a:lnTo>
                      <a:lnTo>
                        <a:pt x="1868" y="486"/>
                      </a:lnTo>
                      <a:lnTo>
                        <a:pt x="1872" y="476"/>
                      </a:lnTo>
                      <a:lnTo>
                        <a:pt x="1876" y="472"/>
                      </a:lnTo>
                      <a:lnTo>
                        <a:pt x="1876" y="472"/>
                      </a:lnTo>
                      <a:lnTo>
                        <a:pt x="1888" y="462"/>
                      </a:lnTo>
                      <a:lnTo>
                        <a:pt x="1894" y="454"/>
                      </a:lnTo>
                      <a:lnTo>
                        <a:pt x="1894" y="450"/>
                      </a:lnTo>
                      <a:lnTo>
                        <a:pt x="1894" y="446"/>
                      </a:lnTo>
                      <a:lnTo>
                        <a:pt x="1894" y="446"/>
                      </a:lnTo>
                      <a:lnTo>
                        <a:pt x="1890" y="442"/>
                      </a:lnTo>
                      <a:lnTo>
                        <a:pt x="1890" y="434"/>
                      </a:lnTo>
                      <a:lnTo>
                        <a:pt x="1892" y="416"/>
                      </a:lnTo>
                      <a:lnTo>
                        <a:pt x="1898" y="394"/>
                      </a:lnTo>
                      <a:lnTo>
                        <a:pt x="1898" y="394"/>
                      </a:lnTo>
                      <a:lnTo>
                        <a:pt x="1914" y="374"/>
                      </a:lnTo>
                      <a:lnTo>
                        <a:pt x="1926" y="360"/>
                      </a:lnTo>
                      <a:lnTo>
                        <a:pt x="1928" y="354"/>
                      </a:lnTo>
                      <a:lnTo>
                        <a:pt x="1930" y="350"/>
                      </a:lnTo>
                      <a:lnTo>
                        <a:pt x="1930" y="350"/>
                      </a:lnTo>
                      <a:lnTo>
                        <a:pt x="1934" y="340"/>
                      </a:lnTo>
                      <a:lnTo>
                        <a:pt x="1944" y="324"/>
                      </a:lnTo>
                      <a:lnTo>
                        <a:pt x="1956" y="310"/>
                      </a:lnTo>
                      <a:lnTo>
                        <a:pt x="1964" y="304"/>
                      </a:lnTo>
                      <a:lnTo>
                        <a:pt x="1972" y="300"/>
                      </a:lnTo>
                      <a:lnTo>
                        <a:pt x="1972" y="300"/>
                      </a:lnTo>
                      <a:lnTo>
                        <a:pt x="1978" y="296"/>
                      </a:lnTo>
                      <a:lnTo>
                        <a:pt x="1986" y="290"/>
                      </a:lnTo>
                      <a:lnTo>
                        <a:pt x="1996" y="278"/>
                      </a:lnTo>
                      <a:lnTo>
                        <a:pt x="2004" y="264"/>
                      </a:lnTo>
                      <a:lnTo>
                        <a:pt x="2004" y="264"/>
                      </a:lnTo>
                      <a:lnTo>
                        <a:pt x="2010" y="252"/>
                      </a:lnTo>
                      <a:lnTo>
                        <a:pt x="2016" y="240"/>
                      </a:lnTo>
                      <a:lnTo>
                        <a:pt x="2020" y="236"/>
                      </a:lnTo>
                      <a:lnTo>
                        <a:pt x="2024" y="234"/>
                      </a:lnTo>
                      <a:lnTo>
                        <a:pt x="2024" y="234"/>
                      </a:lnTo>
                      <a:lnTo>
                        <a:pt x="2030" y="232"/>
                      </a:lnTo>
                      <a:lnTo>
                        <a:pt x="2034" y="226"/>
                      </a:lnTo>
                      <a:lnTo>
                        <a:pt x="2046" y="214"/>
                      </a:lnTo>
                      <a:lnTo>
                        <a:pt x="2056" y="198"/>
                      </a:lnTo>
                      <a:lnTo>
                        <a:pt x="2078" y="154"/>
                      </a:lnTo>
                      <a:lnTo>
                        <a:pt x="2090" y="112"/>
                      </a:lnTo>
                      <a:lnTo>
                        <a:pt x="2088" y="78"/>
                      </a:lnTo>
                      <a:close/>
                      <a:moveTo>
                        <a:pt x="1040" y="574"/>
                      </a:move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>
                  <a:glow rad="177800">
                    <a:schemeClr val="bg2">
                      <a:lumMod val="60000"/>
                      <a:lumOff val="40000"/>
                      <a:alpha val="11000"/>
                    </a:schemeClr>
                  </a:glow>
                  <a:softEdge rad="254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137" name="Group 669"/>
            <p:cNvGrpSpPr/>
            <p:nvPr/>
          </p:nvGrpSpPr>
          <p:grpSpPr>
            <a:xfrm>
              <a:off x="-9" y="242195"/>
              <a:ext cx="9144001" cy="6615827"/>
              <a:chOff x="-9" y="242195"/>
              <a:chExt cx="9144001" cy="6615827"/>
            </a:xfrm>
          </p:grpSpPr>
          <p:grpSp>
            <p:nvGrpSpPr>
              <p:cNvPr id="179" name="Group 32"/>
              <p:cNvGrpSpPr>
                <a:grpSpLocks noChangeAspect="1"/>
              </p:cNvGrpSpPr>
              <p:nvPr/>
            </p:nvGrpSpPr>
            <p:grpSpPr>
              <a:xfrm rot="20059765">
                <a:off x="214282" y="242195"/>
                <a:ext cx="1611192" cy="1321331"/>
                <a:chOff x="492450" y="105224"/>
                <a:chExt cx="2967986" cy="2434032"/>
              </a:xfrm>
              <a:solidFill>
                <a:schemeClr val="bg2">
                  <a:lumMod val="60000"/>
                  <a:lumOff val="40000"/>
                  <a:alpha val="8000"/>
                </a:schemeClr>
              </a:solidFill>
            </p:grpSpPr>
            <p:sp>
              <p:nvSpPr>
                <p:cNvPr id="220" name="Freeform 79"/>
                <p:cNvSpPr>
                  <a:spLocks/>
                </p:cNvSpPr>
                <p:nvPr/>
              </p:nvSpPr>
              <p:spPr bwMode="auto">
                <a:xfrm>
                  <a:off x="1660525" y="654050"/>
                  <a:ext cx="368300" cy="546100"/>
                </a:xfrm>
                <a:custGeom>
                  <a:avLst/>
                  <a:gdLst/>
                  <a:ahLst/>
                  <a:cxnLst>
                    <a:cxn ang="0">
                      <a:pos x="230" y="344"/>
                    </a:cxn>
                    <a:cxn ang="0">
                      <a:pos x="230" y="344"/>
                    </a:cxn>
                    <a:cxn ang="0">
                      <a:pos x="232" y="344"/>
                    </a:cxn>
                    <a:cxn ang="0">
                      <a:pos x="232" y="342"/>
                    </a:cxn>
                    <a:cxn ang="0">
                      <a:pos x="232" y="342"/>
                    </a:cxn>
                    <a:cxn ang="0">
                      <a:pos x="224" y="328"/>
                    </a:cxn>
                    <a:cxn ang="0">
                      <a:pos x="48" y="50"/>
                    </a:cxn>
                    <a:cxn ang="0">
                      <a:pos x="48" y="50"/>
                    </a:cxn>
                    <a:cxn ang="0">
                      <a:pos x="30" y="24"/>
                    </a:cxn>
                    <a:cxn ang="0">
                      <a:pos x="30" y="24"/>
                    </a:cxn>
                    <a:cxn ang="0">
                      <a:pos x="22" y="12"/>
                    </a:cxn>
                    <a:cxn ang="0">
                      <a:pos x="10" y="2"/>
                    </a:cxn>
                    <a:cxn ang="0">
                      <a:pos x="10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4"/>
                    </a:cxn>
                    <a:cxn ang="0">
                      <a:pos x="4" y="14"/>
                    </a:cxn>
                    <a:cxn ang="0">
                      <a:pos x="10" y="22"/>
                    </a:cxn>
                    <a:cxn ang="0">
                      <a:pos x="10" y="22"/>
                    </a:cxn>
                    <a:cxn ang="0">
                      <a:pos x="18" y="30"/>
                    </a:cxn>
                    <a:cxn ang="0">
                      <a:pos x="26" y="42"/>
                    </a:cxn>
                    <a:cxn ang="0">
                      <a:pos x="218" y="332"/>
                    </a:cxn>
                    <a:cxn ang="0">
                      <a:pos x="218" y="332"/>
                    </a:cxn>
                    <a:cxn ang="0">
                      <a:pos x="226" y="340"/>
                    </a:cxn>
                    <a:cxn ang="0">
                      <a:pos x="230" y="344"/>
                    </a:cxn>
                    <a:cxn ang="0">
                      <a:pos x="230" y="344"/>
                    </a:cxn>
                  </a:cxnLst>
                  <a:rect l="0" t="0" r="r" b="b"/>
                  <a:pathLst>
                    <a:path w="232" h="344">
                      <a:moveTo>
                        <a:pt x="230" y="344"/>
                      </a:moveTo>
                      <a:lnTo>
                        <a:pt x="230" y="344"/>
                      </a:lnTo>
                      <a:lnTo>
                        <a:pt x="232" y="344"/>
                      </a:lnTo>
                      <a:lnTo>
                        <a:pt x="232" y="342"/>
                      </a:lnTo>
                      <a:lnTo>
                        <a:pt x="232" y="342"/>
                      </a:lnTo>
                      <a:lnTo>
                        <a:pt x="224" y="328"/>
                      </a:lnTo>
                      <a:lnTo>
                        <a:pt x="48" y="50"/>
                      </a:lnTo>
                      <a:lnTo>
                        <a:pt x="48" y="50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22" y="1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14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8" y="30"/>
                      </a:lnTo>
                      <a:lnTo>
                        <a:pt x="26" y="42"/>
                      </a:lnTo>
                      <a:lnTo>
                        <a:pt x="218" y="332"/>
                      </a:lnTo>
                      <a:lnTo>
                        <a:pt x="218" y="332"/>
                      </a:lnTo>
                      <a:lnTo>
                        <a:pt x="226" y="340"/>
                      </a:lnTo>
                      <a:lnTo>
                        <a:pt x="230" y="344"/>
                      </a:lnTo>
                      <a:lnTo>
                        <a:pt x="230" y="3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1" name="Freeform 80"/>
                <p:cNvSpPr>
                  <a:spLocks/>
                </p:cNvSpPr>
                <p:nvPr/>
              </p:nvSpPr>
              <p:spPr bwMode="auto">
                <a:xfrm>
                  <a:off x="2032000" y="1216025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2" name="Freeform 81"/>
                <p:cNvSpPr>
                  <a:spLocks/>
                </p:cNvSpPr>
                <p:nvPr/>
              </p:nvSpPr>
              <p:spPr bwMode="auto">
                <a:xfrm>
                  <a:off x="2057401" y="654050"/>
                  <a:ext cx="368300" cy="546100"/>
                </a:xfrm>
                <a:custGeom>
                  <a:avLst/>
                  <a:gdLst/>
                  <a:ahLst/>
                  <a:cxnLst>
                    <a:cxn ang="0">
                      <a:pos x="2" y="344"/>
                    </a:cxn>
                    <a:cxn ang="0">
                      <a:pos x="2" y="344"/>
                    </a:cxn>
                    <a:cxn ang="0">
                      <a:pos x="6" y="340"/>
                    </a:cxn>
                    <a:cxn ang="0">
                      <a:pos x="14" y="332"/>
                    </a:cxn>
                    <a:cxn ang="0">
                      <a:pos x="206" y="42"/>
                    </a:cxn>
                    <a:cxn ang="0">
                      <a:pos x="206" y="42"/>
                    </a:cxn>
                    <a:cxn ang="0">
                      <a:pos x="214" y="30"/>
                    </a:cxn>
                    <a:cxn ang="0">
                      <a:pos x="222" y="22"/>
                    </a:cxn>
                    <a:cxn ang="0">
                      <a:pos x="222" y="22"/>
                    </a:cxn>
                    <a:cxn ang="0">
                      <a:pos x="228" y="14"/>
                    </a:cxn>
                    <a:cxn ang="0">
                      <a:pos x="232" y="4"/>
                    </a:cxn>
                    <a:cxn ang="0">
                      <a:pos x="232" y="4"/>
                    </a:cxn>
                    <a:cxn ang="0">
                      <a:pos x="232" y="0"/>
                    </a:cxn>
                    <a:cxn ang="0">
                      <a:pos x="230" y="0"/>
                    </a:cxn>
                    <a:cxn ang="0">
                      <a:pos x="226" y="0"/>
                    </a:cxn>
                    <a:cxn ang="0">
                      <a:pos x="222" y="2"/>
                    </a:cxn>
                    <a:cxn ang="0">
                      <a:pos x="222" y="2"/>
                    </a:cxn>
                    <a:cxn ang="0">
                      <a:pos x="210" y="12"/>
                    </a:cxn>
                    <a:cxn ang="0">
                      <a:pos x="202" y="24"/>
                    </a:cxn>
                    <a:cxn ang="0">
                      <a:pos x="202" y="24"/>
                    </a:cxn>
                    <a:cxn ang="0">
                      <a:pos x="184" y="50"/>
                    </a:cxn>
                    <a:cxn ang="0">
                      <a:pos x="8" y="328"/>
                    </a:cxn>
                    <a:cxn ang="0">
                      <a:pos x="8" y="328"/>
                    </a:cxn>
                    <a:cxn ang="0">
                      <a:pos x="0" y="342"/>
                    </a:cxn>
                    <a:cxn ang="0">
                      <a:pos x="0" y="342"/>
                    </a:cxn>
                    <a:cxn ang="0">
                      <a:pos x="0" y="344"/>
                    </a:cxn>
                    <a:cxn ang="0">
                      <a:pos x="0" y="344"/>
                    </a:cxn>
                    <a:cxn ang="0">
                      <a:pos x="2" y="344"/>
                    </a:cxn>
                    <a:cxn ang="0">
                      <a:pos x="2" y="344"/>
                    </a:cxn>
                  </a:cxnLst>
                  <a:rect l="0" t="0" r="r" b="b"/>
                  <a:pathLst>
                    <a:path w="232" h="344">
                      <a:moveTo>
                        <a:pt x="2" y="344"/>
                      </a:moveTo>
                      <a:lnTo>
                        <a:pt x="2" y="344"/>
                      </a:lnTo>
                      <a:lnTo>
                        <a:pt x="6" y="340"/>
                      </a:lnTo>
                      <a:lnTo>
                        <a:pt x="14" y="332"/>
                      </a:lnTo>
                      <a:lnTo>
                        <a:pt x="206" y="42"/>
                      </a:lnTo>
                      <a:lnTo>
                        <a:pt x="206" y="42"/>
                      </a:lnTo>
                      <a:lnTo>
                        <a:pt x="214" y="30"/>
                      </a:lnTo>
                      <a:lnTo>
                        <a:pt x="222" y="22"/>
                      </a:lnTo>
                      <a:lnTo>
                        <a:pt x="222" y="22"/>
                      </a:lnTo>
                      <a:lnTo>
                        <a:pt x="228" y="14"/>
                      </a:lnTo>
                      <a:lnTo>
                        <a:pt x="232" y="4"/>
                      </a:lnTo>
                      <a:lnTo>
                        <a:pt x="232" y="4"/>
                      </a:lnTo>
                      <a:lnTo>
                        <a:pt x="232" y="0"/>
                      </a:lnTo>
                      <a:lnTo>
                        <a:pt x="230" y="0"/>
                      </a:lnTo>
                      <a:lnTo>
                        <a:pt x="226" y="0"/>
                      </a:lnTo>
                      <a:lnTo>
                        <a:pt x="222" y="2"/>
                      </a:lnTo>
                      <a:lnTo>
                        <a:pt x="222" y="2"/>
                      </a:lnTo>
                      <a:lnTo>
                        <a:pt x="210" y="12"/>
                      </a:lnTo>
                      <a:lnTo>
                        <a:pt x="202" y="24"/>
                      </a:lnTo>
                      <a:lnTo>
                        <a:pt x="202" y="24"/>
                      </a:lnTo>
                      <a:lnTo>
                        <a:pt x="184" y="50"/>
                      </a:lnTo>
                      <a:lnTo>
                        <a:pt x="8" y="328"/>
                      </a:lnTo>
                      <a:lnTo>
                        <a:pt x="8" y="328"/>
                      </a:lnTo>
                      <a:lnTo>
                        <a:pt x="0" y="342"/>
                      </a:lnTo>
                      <a:lnTo>
                        <a:pt x="0" y="342"/>
                      </a:lnTo>
                      <a:lnTo>
                        <a:pt x="0" y="344"/>
                      </a:lnTo>
                      <a:lnTo>
                        <a:pt x="0" y="344"/>
                      </a:lnTo>
                      <a:lnTo>
                        <a:pt x="2" y="344"/>
                      </a:lnTo>
                      <a:lnTo>
                        <a:pt x="2" y="3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3" name="Freeform 82"/>
                <p:cNvSpPr>
                  <a:spLocks noEditPoints="1"/>
                </p:cNvSpPr>
                <p:nvPr/>
              </p:nvSpPr>
              <p:spPr bwMode="auto">
                <a:xfrm rot="650724">
                  <a:off x="492450" y="105224"/>
                  <a:ext cx="2967986" cy="2434032"/>
                </a:xfrm>
                <a:custGeom>
                  <a:avLst/>
                  <a:gdLst/>
                  <a:ahLst/>
                  <a:cxnLst>
                    <a:cxn ang="0">
                      <a:pos x="1784" y="18"/>
                    </a:cxn>
                    <a:cxn ang="0">
                      <a:pos x="1368" y="254"/>
                    </a:cxn>
                    <a:cxn ang="0">
                      <a:pos x="1096" y="632"/>
                    </a:cxn>
                    <a:cxn ang="0">
                      <a:pos x="1066" y="570"/>
                    </a:cxn>
                    <a:cxn ang="0">
                      <a:pos x="1044" y="562"/>
                    </a:cxn>
                    <a:cxn ang="0">
                      <a:pos x="1016" y="572"/>
                    </a:cxn>
                    <a:cxn ang="0">
                      <a:pos x="992" y="628"/>
                    </a:cxn>
                    <a:cxn ang="0">
                      <a:pos x="680" y="216"/>
                    </a:cxn>
                    <a:cxn ang="0">
                      <a:pos x="268" y="10"/>
                    </a:cxn>
                    <a:cxn ang="0">
                      <a:pos x="34" y="198"/>
                    </a:cxn>
                    <a:cxn ang="0">
                      <a:pos x="86" y="264"/>
                    </a:cxn>
                    <a:cxn ang="0">
                      <a:pos x="156" y="340"/>
                    </a:cxn>
                    <a:cxn ang="0">
                      <a:pos x="198" y="442"/>
                    </a:cxn>
                    <a:cxn ang="0">
                      <a:pos x="224" y="492"/>
                    </a:cxn>
                    <a:cxn ang="0">
                      <a:pos x="240" y="572"/>
                    </a:cxn>
                    <a:cxn ang="0">
                      <a:pos x="272" y="640"/>
                    </a:cxn>
                    <a:cxn ang="0">
                      <a:pos x="378" y="740"/>
                    </a:cxn>
                    <a:cxn ang="0">
                      <a:pos x="470" y="858"/>
                    </a:cxn>
                    <a:cxn ang="0">
                      <a:pos x="342" y="1124"/>
                    </a:cxn>
                    <a:cxn ang="0">
                      <a:pos x="376" y="1176"/>
                    </a:cxn>
                    <a:cxn ang="0">
                      <a:pos x="406" y="1268"/>
                    </a:cxn>
                    <a:cxn ang="0">
                      <a:pos x="458" y="1316"/>
                    </a:cxn>
                    <a:cxn ang="0">
                      <a:pos x="502" y="1380"/>
                    </a:cxn>
                    <a:cxn ang="0">
                      <a:pos x="536" y="1422"/>
                    </a:cxn>
                    <a:cxn ang="0">
                      <a:pos x="460" y="1554"/>
                    </a:cxn>
                    <a:cxn ang="0">
                      <a:pos x="414" y="1686"/>
                    </a:cxn>
                    <a:cxn ang="0">
                      <a:pos x="486" y="1704"/>
                    </a:cxn>
                    <a:cxn ang="0">
                      <a:pos x="586" y="1526"/>
                    </a:cxn>
                    <a:cxn ang="0">
                      <a:pos x="662" y="1528"/>
                    </a:cxn>
                    <a:cxn ang="0">
                      <a:pos x="700" y="1528"/>
                    </a:cxn>
                    <a:cxn ang="0">
                      <a:pos x="768" y="1532"/>
                    </a:cxn>
                    <a:cxn ang="0">
                      <a:pos x="816" y="1452"/>
                    </a:cxn>
                    <a:cxn ang="0">
                      <a:pos x="978" y="928"/>
                    </a:cxn>
                    <a:cxn ang="0">
                      <a:pos x="996" y="942"/>
                    </a:cxn>
                    <a:cxn ang="0">
                      <a:pos x="992" y="1208"/>
                    </a:cxn>
                    <a:cxn ang="0">
                      <a:pos x="1088" y="1112"/>
                    </a:cxn>
                    <a:cxn ang="0">
                      <a:pos x="1088" y="854"/>
                    </a:cxn>
                    <a:cxn ang="0">
                      <a:pos x="1138" y="1056"/>
                    </a:cxn>
                    <a:cxn ang="0">
                      <a:pos x="1284" y="1500"/>
                    </a:cxn>
                    <a:cxn ang="0">
                      <a:pos x="1334" y="1528"/>
                    </a:cxn>
                    <a:cxn ang="0">
                      <a:pos x="1406" y="1536"/>
                    </a:cxn>
                    <a:cxn ang="0">
                      <a:pos x="1458" y="1516"/>
                    </a:cxn>
                    <a:cxn ang="0">
                      <a:pos x="1542" y="1592"/>
                    </a:cxn>
                    <a:cxn ang="0">
                      <a:pos x="1626" y="1714"/>
                    </a:cxn>
                    <a:cxn ang="0">
                      <a:pos x="1680" y="1650"/>
                    </a:cxn>
                    <a:cxn ang="0">
                      <a:pos x="1618" y="1546"/>
                    </a:cxn>
                    <a:cxn ang="0">
                      <a:pos x="1560" y="1404"/>
                    </a:cxn>
                    <a:cxn ang="0">
                      <a:pos x="1616" y="1378"/>
                    </a:cxn>
                    <a:cxn ang="0">
                      <a:pos x="1634" y="1294"/>
                    </a:cxn>
                    <a:cxn ang="0">
                      <a:pos x="1706" y="1248"/>
                    </a:cxn>
                    <a:cxn ang="0">
                      <a:pos x="1726" y="1166"/>
                    </a:cxn>
                    <a:cxn ang="0">
                      <a:pos x="1702" y="1004"/>
                    </a:cxn>
                    <a:cxn ang="0">
                      <a:pos x="1528" y="790"/>
                    </a:cxn>
                    <a:cxn ang="0">
                      <a:pos x="1758" y="718"/>
                    </a:cxn>
                    <a:cxn ang="0">
                      <a:pos x="1830" y="612"/>
                    </a:cxn>
                    <a:cxn ang="0">
                      <a:pos x="1868" y="536"/>
                    </a:cxn>
                    <a:cxn ang="0">
                      <a:pos x="1876" y="472"/>
                    </a:cxn>
                    <a:cxn ang="0">
                      <a:pos x="1898" y="394"/>
                    </a:cxn>
                    <a:cxn ang="0">
                      <a:pos x="1964" y="304"/>
                    </a:cxn>
                    <a:cxn ang="0">
                      <a:pos x="2020" y="236"/>
                    </a:cxn>
                    <a:cxn ang="0">
                      <a:pos x="1040" y="574"/>
                    </a:cxn>
                  </a:cxnLst>
                  <a:rect l="0" t="0" r="r" b="b"/>
                  <a:pathLst>
                    <a:path w="2090" h="1714">
                      <a:moveTo>
                        <a:pt x="2088" y="78"/>
                      </a:moveTo>
                      <a:lnTo>
                        <a:pt x="2070" y="44"/>
                      </a:lnTo>
                      <a:lnTo>
                        <a:pt x="2028" y="16"/>
                      </a:lnTo>
                      <a:lnTo>
                        <a:pt x="1964" y="4"/>
                      </a:lnTo>
                      <a:lnTo>
                        <a:pt x="1896" y="0"/>
                      </a:lnTo>
                      <a:lnTo>
                        <a:pt x="1896" y="0"/>
                      </a:lnTo>
                      <a:lnTo>
                        <a:pt x="1876" y="2"/>
                      </a:lnTo>
                      <a:lnTo>
                        <a:pt x="1852" y="4"/>
                      </a:lnTo>
                      <a:lnTo>
                        <a:pt x="1822" y="10"/>
                      </a:lnTo>
                      <a:lnTo>
                        <a:pt x="1784" y="18"/>
                      </a:lnTo>
                      <a:lnTo>
                        <a:pt x="1740" y="30"/>
                      </a:lnTo>
                      <a:lnTo>
                        <a:pt x="1694" y="46"/>
                      </a:lnTo>
                      <a:lnTo>
                        <a:pt x="1642" y="66"/>
                      </a:lnTo>
                      <a:lnTo>
                        <a:pt x="1642" y="66"/>
                      </a:lnTo>
                      <a:lnTo>
                        <a:pt x="1592" y="92"/>
                      </a:lnTo>
                      <a:lnTo>
                        <a:pt x="1544" y="118"/>
                      </a:lnTo>
                      <a:lnTo>
                        <a:pt x="1498" y="148"/>
                      </a:lnTo>
                      <a:lnTo>
                        <a:pt x="1454" y="180"/>
                      </a:lnTo>
                      <a:lnTo>
                        <a:pt x="1410" y="216"/>
                      </a:lnTo>
                      <a:lnTo>
                        <a:pt x="1368" y="254"/>
                      </a:lnTo>
                      <a:lnTo>
                        <a:pt x="1328" y="296"/>
                      </a:lnTo>
                      <a:lnTo>
                        <a:pt x="1286" y="342"/>
                      </a:lnTo>
                      <a:lnTo>
                        <a:pt x="1286" y="342"/>
                      </a:lnTo>
                      <a:lnTo>
                        <a:pt x="1254" y="380"/>
                      </a:lnTo>
                      <a:lnTo>
                        <a:pt x="1224" y="420"/>
                      </a:lnTo>
                      <a:lnTo>
                        <a:pt x="1196" y="462"/>
                      </a:lnTo>
                      <a:lnTo>
                        <a:pt x="1170" y="504"/>
                      </a:lnTo>
                      <a:lnTo>
                        <a:pt x="1124" y="578"/>
                      </a:lnTo>
                      <a:lnTo>
                        <a:pt x="1096" y="632"/>
                      </a:lnTo>
                      <a:lnTo>
                        <a:pt x="1096" y="632"/>
                      </a:lnTo>
                      <a:lnTo>
                        <a:pt x="1092" y="622"/>
                      </a:lnTo>
                      <a:lnTo>
                        <a:pt x="1082" y="608"/>
                      </a:lnTo>
                      <a:lnTo>
                        <a:pt x="1082" y="608"/>
                      </a:lnTo>
                      <a:lnTo>
                        <a:pt x="1086" y="600"/>
                      </a:lnTo>
                      <a:lnTo>
                        <a:pt x="1088" y="592"/>
                      </a:lnTo>
                      <a:lnTo>
                        <a:pt x="1088" y="592"/>
                      </a:lnTo>
                      <a:lnTo>
                        <a:pt x="1086" y="584"/>
                      </a:lnTo>
                      <a:lnTo>
                        <a:pt x="1082" y="576"/>
                      </a:lnTo>
                      <a:lnTo>
                        <a:pt x="1074" y="572"/>
                      </a:lnTo>
                      <a:lnTo>
                        <a:pt x="1066" y="570"/>
                      </a:lnTo>
                      <a:lnTo>
                        <a:pt x="1066" y="570"/>
                      </a:lnTo>
                      <a:lnTo>
                        <a:pt x="1064" y="570"/>
                      </a:lnTo>
                      <a:lnTo>
                        <a:pt x="1066" y="564"/>
                      </a:lnTo>
                      <a:lnTo>
                        <a:pt x="1060" y="564"/>
                      </a:lnTo>
                      <a:lnTo>
                        <a:pt x="1056" y="564"/>
                      </a:lnTo>
                      <a:lnTo>
                        <a:pt x="1056" y="564"/>
                      </a:lnTo>
                      <a:lnTo>
                        <a:pt x="1050" y="558"/>
                      </a:lnTo>
                      <a:lnTo>
                        <a:pt x="1048" y="560"/>
                      </a:lnTo>
                      <a:lnTo>
                        <a:pt x="1048" y="558"/>
                      </a:lnTo>
                      <a:lnTo>
                        <a:pt x="1044" y="562"/>
                      </a:lnTo>
                      <a:lnTo>
                        <a:pt x="1038" y="560"/>
                      </a:lnTo>
                      <a:lnTo>
                        <a:pt x="1038" y="564"/>
                      </a:lnTo>
                      <a:lnTo>
                        <a:pt x="1034" y="564"/>
                      </a:lnTo>
                      <a:lnTo>
                        <a:pt x="1030" y="564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26" y="570"/>
                      </a:lnTo>
                      <a:lnTo>
                        <a:pt x="1026" y="570"/>
                      </a:lnTo>
                      <a:lnTo>
                        <a:pt x="1016" y="572"/>
                      </a:lnTo>
                      <a:lnTo>
                        <a:pt x="1010" y="576"/>
                      </a:lnTo>
                      <a:lnTo>
                        <a:pt x="1004" y="584"/>
                      </a:lnTo>
                      <a:lnTo>
                        <a:pt x="1004" y="592"/>
                      </a:lnTo>
                      <a:lnTo>
                        <a:pt x="1004" y="592"/>
                      </a:lnTo>
                      <a:lnTo>
                        <a:pt x="1004" y="598"/>
                      </a:lnTo>
                      <a:lnTo>
                        <a:pt x="1008" y="604"/>
                      </a:lnTo>
                      <a:lnTo>
                        <a:pt x="1008" y="604"/>
                      </a:lnTo>
                      <a:lnTo>
                        <a:pt x="998" y="618"/>
                      </a:lnTo>
                      <a:lnTo>
                        <a:pt x="992" y="628"/>
                      </a:lnTo>
                      <a:lnTo>
                        <a:pt x="992" y="628"/>
                      </a:lnTo>
                      <a:lnTo>
                        <a:pt x="962" y="574"/>
                      </a:lnTo>
                      <a:lnTo>
                        <a:pt x="918" y="500"/>
                      </a:lnTo>
                      <a:lnTo>
                        <a:pt x="892" y="460"/>
                      </a:lnTo>
                      <a:lnTo>
                        <a:pt x="864" y="420"/>
                      </a:lnTo>
                      <a:lnTo>
                        <a:pt x="834" y="378"/>
                      </a:lnTo>
                      <a:lnTo>
                        <a:pt x="802" y="342"/>
                      </a:lnTo>
                      <a:lnTo>
                        <a:pt x="802" y="342"/>
                      </a:lnTo>
                      <a:lnTo>
                        <a:pt x="762" y="296"/>
                      </a:lnTo>
                      <a:lnTo>
                        <a:pt x="720" y="254"/>
                      </a:lnTo>
                      <a:lnTo>
                        <a:pt x="680" y="216"/>
                      </a:lnTo>
                      <a:lnTo>
                        <a:pt x="636" y="180"/>
                      </a:lnTo>
                      <a:lnTo>
                        <a:pt x="592" y="148"/>
                      </a:lnTo>
                      <a:lnTo>
                        <a:pt x="546" y="118"/>
                      </a:lnTo>
                      <a:lnTo>
                        <a:pt x="498" y="92"/>
                      </a:lnTo>
                      <a:lnTo>
                        <a:pt x="448" y="66"/>
                      </a:lnTo>
                      <a:lnTo>
                        <a:pt x="448" y="66"/>
                      </a:lnTo>
                      <a:lnTo>
                        <a:pt x="396" y="46"/>
                      </a:lnTo>
                      <a:lnTo>
                        <a:pt x="348" y="30"/>
                      </a:lnTo>
                      <a:lnTo>
                        <a:pt x="306" y="18"/>
                      </a:lnTo>
                      <a:lnTo>
                        <a:pt x="268" y="10"/>
                      </a:lnTo>
                      <a:lnTo>
                        <a:pt x="238" y="4"/>
                      </a:lnTo>
                      <a:lnTo>
                        <a:pt x="214" y="2"/>
                      </a:lnTo>
                      <a:lnTo>
                        <a:pt x="194" y="0"/>
                      </a:lnTo>
                      <a:lnTo>
                        <a:pt x="126" y="4"/>
                      </a:lnTo>
                      <a:lnTo>
                        <a:pt x="62" y="16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2"/>
                      </a:lnTo>
                      <a:lnTo>
                        <a:pt x="12" y="154"/>
                      </a:lnTo>
                      <a:lnTo>
                        <a:pt x="34" y="198"/>
                      </a:lnTo>
                      <a:lnTo>
                        <a:pt x="34" y="198"/>
                      </a:lnTo>
                      <a:lnTo>
                        <a:pt x="44" y="214"/>
                      </a:lnTo>
                      <a:lnTo>
                        <a:pt x="56" y="226"/>
                      </a:lnTo>
                      <a:lnTo>
                        <a:pt x="60" y="232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70" y="236"/>
                      </a:lnTo>
                      <a:lnTo>
                        <a:pt x="74" y="240"/>
                      </a:lnTo>
                      <a:lnTo>
                        <a:pt x="80" y="252"/>
                      </a:lnTo>
                      <a:lnTo>
                        <a:pt x="86" y="264"/>
                      </a:lnTo>
                      <a:lnTo>
                        <a:pt x="86" y="264"/>
                      </a:lnTo>
                      <a:lnTo>
                        <a:pt x="94" y="278"/>
                      </a:lnTo>
                      <a:lnTo>
                        <a:pt x="104" y="290"/>
                      </a:lnTo>
                      <a:lnTo>
                        <a:pt x="112" y="296"/>
                      </a:lnTo>
                      <a:lnTo>
                        <a:pt x="118" y="300"/>
                      </a:lnTo>
                      <a:lnTo>
                        <a:pt x="118" y="300"/>
                      </a:lnTo>
                      <a:lnTo>
                        <a:pt x="126" y="304"/>
                      </a:lnTo>
                      <a:lnTo>
                        <a:pt x="132" y="310"/>
                      </a:lnTo>
                      <a:lnTo>
                        <a:pt x="146" y="324"/>
                      </a:lnTo>
                      <a:lnTo>
                        <a:pt x="156" y="340"/>
                      </a:lnTo>
                      <a:lnTo>
                        <a:pt x="160" y="350"/>
                      </a:lnTo>
                      <a:lnTo>
                        <a:pt x="160" y="350"/>
                      </a:lnTo>
                      <a:lnTo>
                        <a:pt x="160" y="354"/>
                      </a:lnTo>
                      <a:lnTo>
                        <a:pt x="164" y="360"/>
                      </a:lnTo>
                      <a:lnTo>
                        <a:pt x="176" y="374"/>
                      </a:lnTo>
                      <a:lnTo>
                        <a:pt x="192" y="394"/>
                      </a:lnTo>
                      <a:lnTo>
                        <a:pt x="192" y="394"/>
                      </a:lnTo>
                      <a:lnTo>
                        <a:pt x="198" y="416"/>
                      </a:lnTo>
                      <a:lnTo>
                        <a:pt x="200" y="434"/>
                      </a:lnTo>
                      <a:lnTo>
                        <a:pt x="198" y="442"/>
                      </a:lnTo>
                      <a:lnTo>
                        <a:pt x="196" y="446"/>
                      </a:lnTo>
                      <a:lnTo>
                        <a:pt x="196" y="446"/>
                      </a:lnTo>
                      <a:lnTo>
                        <a:pt x="194" y="450"/>
                      </a:lnTo>
                      <a:lnTo>
                        <a:pt x="196" y="454"/>
                      </a:lnTo>
                      <a:lnTo>
                        <a:pt x="202" y="462"/>
                      </a:lnTo>
                      <a:lnTo>
                        <a:pt x="214" y="472"/>
                      </a:lnTo>
                      <a:lnTo>
                        <a:pt x="214" y="472"/>
                      </a:lnTo>
                      <a:lnTo>
                        <a:pt x="216" y="476"/>
                      </a:lnTo>
                      <a:lnTo>
                        <a:pt x="222" y="486"/>
                      </a:lnTo>
                      <a:lnTo>
                        <a:pt x="224" y="492"/>
                      </a:lnTo>
                      <a:lnTo>
                        <a:pt x="226" y="498"/>
                      </a:lnTo>
                      <a:lnTo>
                        <a:pt x="226" y="506"/>
                      </a:lnTo>
                      <a:lnTo>
                        <a:pt x="222" y="512"/>
                      </a:lnTo>
                      <a:lnTo>
                        <a:pt x="222" y="512"/>
                      </a:lnTo>
                      <a:lnTo>
                        <a:pt x="220" y="518"/>
                      </a:lnTo>
                      <a:lnTo>
                        <a:pt x="220" y="526"/>
                      </a:lnTo>
                      <a:lnTo>
                        <a:pt x="222" y="536"/>
                      </a:lnTo>
                      <a:lnTo>
                        <a:pt x="226" y="546"/>
                      </a:lnTo>
                      <a:lnTo>
                        <a:pt x="236" y="564"/>
                      </a:lnTo>
                      <a:lnTo>
                        <a:pt x="240" y="572"/>
                      </a:lnTo>
                      <a:lnTo>
                        <a:pt x="244" y="574"/>
                      </a:lnTo>
                      <a:lnTo>
                        <a:pt x="244" y="574"/>
                      </a:lnTo>
                      <a:lnTo>
                        <a:pt x="248" y="578"/>
                      </a:lnTo>
                      <a:lnTo>
                        <a:pt x="250" y="582"/>
                      </a:lnTo>
                      <a:lnTo>
                        <a:pt x="256" y="594"/>
                      </a:lnTo>
                      <a:lnTo>
                        <a:pt x="260" y="612"/>
                      </a:lnTo>
                      <a:lnTo>
                        <a:pt x="260" y="612"/>
                      </a:lnTo>
                      <a:lnTo>
                        <a:pt x="260" y="614"/>
                      </a:lnTo>
                      <a:lnTo>
                        <a:pt x="264" y="624"/>
                      </a:lnTo>
                      <a:lnTo>
                        <a:pt x="272" y="640"/>
                      </a:lnTo>
                      <a:lnTo>
                        <a:pt x="288" y="660"/>
                      </a:lnTo>
                      <a:lnTo>
                        <a:pt x="288" y="660"/>
                      </a:lnTo>
                      <a:lnTo>
                        <a:pt x="304" y="680"/>
                      </a:lnTo>
                      <a:lnTo>
                        <a:pt x="314" y="694"/>
                      </a:lnTo>
                      <a:lnTo>
                        <a:pt x="328" y="714"/>
                      </a:lnTo>
                      <a:lnTo>
                        <a:pt x="328" y="714"/>
                      </a:lnTo>
                      <a:lnTo>
                        <a:pt x="332" y="718"/>
                      </a:lnTo>
                      <a:lnTo>
                        <a:pt x="338" y="724"/>
                      </a:lnTo>
                      <a:lnTo>
                        <a:pt x="356" y="732"/>
                      </a:lnTo>
                      <a:lnTo>
                        <a:pt x="378" y="740"/>
                      </a:lnTo>
                      <a:lnTo>
                        <a:pt x="430" y="746"/>
                      </a:lnTo>
                      <a:lnTo>
                        <a:pt x="484" y="746"/>
                      </a:lnTo>
                      <a:lnTo>
                        <a:pt x="534" y="746"/>
                      </a:lnTo>
                      <a:lnTo>
                        <a:pt x="604" y="752"/>
                      </a:lnTo>
                      <a:lnTo>
                        <a:pt x="622" y="754"/>
                      </a:lnTo>
                      <a:lnTo>
                        <a:pt x="622" y="754"/>
                      </a:lnTo>
                      <a:lnTo>
                        <a:pt x="562" y="790"/>
                      </a:lnTo>
                      <a:lnTo>
                        <a:pt x="518" y="820"/>
                      </a:lnTo>
                      <a:lnTo>
                        <a:pt x="488" y="842"/>
                      </a:lnTo>
                      <a:lnTo>
                        <a:pt x="470" y="858"/>
                      </a:lnTo>
                      <a:lnTo>
                        <a:pt x="462" y="868"/>
                      </a:lnTo>
                      <a:lnTo>
                        <a:pt x="458" y="874"/>
                      </a:lnTo>
                      <a:lnTo>
                        <a:pt x="458" y="876"/>
                      </a:lnTo>
                      <a:lnTo>
                        <a:pt x="458" y="878"/>
                      </a:lnTo>
                      <a:lnTo>
                        <a:pt x="384" y="988"/>
                      </a:lnTo>
                      <a:lnTo>
                        <a:pt x="388" y="1004"/>
                      </a:lnTo>
                      <a:lnTo>
                        <a:pt x="384" y="1022"/>
                      </a:lnTo>
                      <a:lnTo>
                        <a:pt x="366" y="1052"/>
                      </a:lnTo>
                      <a:lnTo>
                        <a:pt x="354" y="1078"/>
                      </a:lnTo>
                      <a:lnTo>
                        <a:pt x="342" y="1124"/>
                      </a:lnTo>
                      <a:lnTo>
                        <a:pt x="342" y="1124"/>
                      </a:lnTo>
                      <a:lnTo>
                        <a:pt x="342" y="1130"/>
                      </a:lnTo>
                      <a:lnTo>
                        <a:pt x="344" y="1142"/>
                      </a:lnTo>
                      <a:lnTo>
                        <a:pt x="348" y="1148"/>
                      </a:lnTo>
                      <a:lnTo>
                        <a:pt x="350" y="1156"/>
                      </a:lnTo>
                      <a:lnTo>
                        <a:pt x="356" y="1162"/>
                      </a:lnTo>
                      <a:lnTo>
                        <a:pt x="364" y="1166"/>
                      </a:lnTo>
                      <a:lnTo>
                        <a:pt x="364" y="1166"/>
                      </a:lnTo>
                      <a:lnTo>
                        <a:pt x="372" y="1170"/>
                      </a:lnTo>
                      <a:lnTo>
                        <a:pt x="376" y="1176"/>
                      </a:lnTo>
                      <a:lnTo>
                        <a:pt x="380" y="1184"/>
                      </a:lnTo>
                      <a:lnTo>
                        <a:pt x="382" y="1192"/>
                      </a:lnTo>
                      <a:lnTo>
                        <a:pt x="380" y="1206"/>
                      </a:lnTo>
                      <a:lnTo>
                        <a:pt x="380" y="1212"/>
                      </a:lnTo>
                      <a:lnTo>
                        <a:pt x="382" y="1244"/>
                      </a:lnTo>
                      <a:lnTo>
                        <a:pt x="382" y="1244"/>
                      </a:lnTo>
                      <a:lnTo>
                        <a:pt x="384" y="1248"/>
                      </a:lnTo>
                      <a:lnTo>
                        <a:pt x="392" y="1258"/>
                      </a:lnTo>
                      <a:lnTo>
                        <a:pt x="398" y="1264"/>
                      </a:lnTo>
                      <a:lnTo>
                        <a:pt x="406" y="1268"/>
                      </a:lnTo>
                      <a:lnTo>
                        <a:pt x="416" y="1272"/>
                      </a:lnTo>
                      <a:lnTo>
                        <a:pt x="428" y="1272"/>
                      </a:lnTo>
                      <a:lnTo>
                        <a:pt x="428" y="1272"/>
                      </a:lnTo>
                      <a:lnTo>
                        <a:pt x="440" y="1274"/>
                      </a:lnTo>
                      <a:lnTo>
                        <a:pt x="448" y="1280"/>
                      </a:lnTo>
                      <a:lnTo>
                        <a:pt x="452" y="1286"/>
                      </a:lnTo>
                      <a:lnTo>
                        <a:pt x="456" y="1294"/>
                      </a:lnTo>
                      <a:lnTo>
                        <a:pt x="458" y="1310"/>
                      </a:lnTo>
                      <a:lnTo>
                        <a:pt x="458" y="1316"/>
                      </a:lnTo>
                      <a:lnTo>
                        <a:pt x="458" y="1316"/>
                      </a:lnTo>
                      <a:lnTo>
                        <a:pt x="456" y="1338"/>
                      </a:lnTo>
                      <a:lnTo>
                        <a:pt x="458" y="1354"/>
                      </a:lnTo>
                      <a:lnTo>
                        <a:pt x="458" y="1360"/>
                      </a:lnTo>
                      <a:lnTo>
                        <a:pt x="460" y="1364"/>
                      </a:lnTo>
                      <a:lnTo>
                        <a:pt x="460" y="1364"/>
                      </a:lnTo>
                      <a:lnTo>
                        <a:pt x="468" y="1374"/>
                      </a:lnTo>
                      <a:lnTo>
                        <a:pt x="474" y="1378"/>
                      </a:lnTo>
                      <a:lnTo>
                        <a:pt x="486" y="1380"/>
                      </a:lnTo>
                      <a:lnTo>
                        <a:pt x="486" y="1380"/>
                      </a:lnTo>
                      <a:lnTo>
                        <a:pt x="502" y="1380"/>
                      </a:lnTo>
                      <a:lnTo>
                        <a:pt x="514" y="1384"/>
                      </a:lnTo>
                      <a:lnTo>
                        <a:pt x="522" y="1390"/>
                      </a:lnTo>
                      <a:lnTo>
                        <a:pt x="526" y="1394"/>
                      </a:lnTo>
                      <a:lnTo>
                        <a:pt x="526" y="1396"/>
                      </a:lnTo>
                      <a:lnTo>
                        <a:pt x="526" y="1396"/>
                      </a:lnTo>
                      <a:lnTo>
                        <a:pt x="526" y="1400"/>
                      </a:lnTo>
                      <a:lnTo>
                        <a:pt x="530" y="1404"/>
                      </a:lnTo>
                      <a:lnTo>
                        <a:pt x="532" y="1408"/>
                      </a:lnTo>
                      <a:lnTo>
                        <a:pt x="534" y="1414"/>
                      </a:lnTo>
                      <a:lnTo>
                        <a:pt x="536" y="1422"/>
                      </a:lnTo>
                      <a:lnTo>
                        <a:pt x="536" y="1432"/>
                      </a:lnTo>
                      <a:lnTo>
                        <a:pt x="532" y="1446"/>
                      </a:lnTo>
                      <a:lnTo>
                        <a:pt x="524" y="1462"/>
                      </a:lnTo>
                      <a:lnTo>
                        <a:pt x="524" y="1462"/>
                      </a:lnTo>
                      <a:lnTo>
                        <a:pt x="492" y="1522"/>
                      </a:lnTo>
                      <a:lnTo>
                        <a:pt x="478" y="1540"/>
                      </a:lnTo>
                      <a:lnTo>
                        <a:pt x="472" y="1546"/>
                      </a:lnTo>
                      <a:lnTo>
                        <a:pt x="466" y="1550"/>
                      </a:lnTo>
                      <a:lnTo>
                        <a:pt x="466" y="1550"/>
                      </a:lnTo>
                      <a:lnTo>
                        <a:pt x="460" y="1554"/>
                      </a:lnTo>
                      <a:lnTo>
                        <a:pt x="454" y="1560"/>
                      </a:lnTo>
                      <a:lnTo>
                        <a:pt x="440" y="1578"/>
                      </a:lnTo>
                      <a:lnTo>
                        <a:pt x="424" y="1604"/>
                      </a:lnTo>
                      <a:lnTo>
                        <a:pt x="424" y="1604"/>
                      </a:lnTo>
                      <a:lnTo>
                        <a:pt x="420" y="1614"/>
                      </a:lnTo>
                      <a:lnTo>
                        <a:pt x="412" y="1636"/>
                      </a:lnTo>
                      <a:lnTo>
                        <a:pt x="410" y="1650"/>
                      </a:lnTo>
                      <a:lnTo>
                        <a:pt x="408" y="1666"/>
                      </a:lnTo>
                      <a:lnTo>
                        <a:pt x="410" y="1680"/>
                      </a:lnTo>
                      <a:lnTo>
                        <a:pt x="414" y="1686"/>
                      </a:lnTo>
                      <a:lnTo>
                        <a:pt x="416" y="1692"/>
                      </a:lnTo>
                      <a:lnTo>
                        <a:pt x="416" y="1692"/>
                      </a:lnTo>
                      <a:lnTo>
                        <a:pt x="426" y="1702"/>
                      </a:lnTo>
                      <a:lnTo>
                        <a:pt x="438" y="1710"/>
                      </a:lnTo>
                      <a:lnTo>
                        <a:pt x="450" y="1714"/>
                      </a:lnTo>
                      <a:lnTo>
                        <a:pt x="456" y="1714"/>
                      </a:lnTo>
                      <a:lnTo>
                        <a:pt x="464" y="1714"/>
                      </a:lnTo>
                      <a:lnTo>
                        <a:pt x="470" y="1712"/>
                      </a:lnTo>
                      <a:lnTo>
                        <a:pt x="478" y="1710"/>
                      </a:lnTo>
                      <a:lnTo>
                        <a:pt x="486" y="1704"/>
                      </a:lnTo>
                      <a:lnTo>
                        <a:pt x="492" y="1698"/>
                      </a:lnTo>
                      <a:lnTo>
                        <a:pt x="500" y="1690"/>
                      </a:lnTo>
                      <a:lnTo>
                        <a:pt x="508" y="1678"/>
                      </a:lnTo>
                      <a:lnTo>
                        <a:pt x="514" y="1666"/>
                      </a:lnTo>
                      <a:lnTo>
                        <a:pt x="522" y="1650"/>
                      </a:lnTo>
                      <a:lnTo>
                        <a:pt x="522" y="1650"/>
                      </a:lnTo>
                      <a:lnTo>
                        <a:pt x="548" y="1592"/>
                      </a:lnTo>
                      <a:lnTo>
                        <a:pt x="568" y="1554"/>
                      </a:lnTo>
                      <a:lnTo>
                        <a:pt x="582" y="1532"/>
                      </a:lnTo>
                      <a:lnTo>
                        <a:pt x="586" y="1526"/>
                      </a:lnTo>
                      <a:lnTo>
                        <a:pt x="586" y="1526"/>
                      </a:lnTo>
                      <a:lnTo>
                        <a:pt x="590" y="1522"/>
                      </a:lnTo>
                      <a:lnTo>
                        <a:pt x="594" y="1518"/>
                      </a:lnTo>
                      <a:lnTo>
                        <a:pt x="600" y="1516"/>
                      </a:lnTo>
                      <a:lnTo>
                        <a:pt x="608" y="1514"/>
                      </a:lnTo>
                      <a:lnTo>
                        <a:pt x="620" y="1514"/>
                      </a:lnTo>
                      <a:lnTo>
                        <a:pt x="632" y="1516"/>
                      </a:lnTo>
                      <a:lnTo>
                        <a:pt x="648" y="1520"/>
                      </a:lnTo>
                      <a:lnTo>
                        <a:pt x="648" y="1520"/>
                      </a:lnTo>
                      <a:lnTo>
                        <a:pt x="662" y="1528"/>
                      </a:lnTo>
                      <a:lnTo>
                        <a:pt x="668" y="1532"/>
                      </a:lnTo>
                      <a:lnTo>
                        <a:pt x="670" y="1536"/>
                      </a:lnTo>
                      <a:lnTo>
                        <a:pt x="668" y="1536"/>
                      </a:lnTo>
                      <a:lnTo>
                        <a:pt x="664" y="1538"/>
                      </a:lnTo>
                      <a:lnTo>
                        <a:pt x="670" y="1538"/>
                      </a:lnTo>
                      <a:lnTo>
                        <a:pt x="670" y="1538"/>
                      </a:lnTo>
                      <a:lnTo>
                        <a:pt x="682" y="1536"/>
                      </a:lnTo>
                      <a:lnTo>
                        <a:pt x="692" y="1532"/>
                      </a:lnTo>
                      <a:lnTo>
                        <a:pt x="700" y="1528"/>
                      </a:lnTo>
                      <a:lnTo>
                        <a:pt x="700" y="1528"/>
                      </a:lnTo>
                      <a:lnTo>
                        <a:pt x="708" y="1522"/>
                      </a:lnTo>
                      <a:lnTo>
                        <a:pt x="716" y="1518"/>
                      </a:lnTo>
                      <a:lnTo>
                        <a:pt x="724" y="1516"/>
                      </a:lnTo>
                      <a:lnTo>
                        <a:pt x="724" y="1516"/>
                      </a:lnTo>
                      <a:lnTo>
                        <a:pt x="734" y="1518"/>
                      </a:lnTo>
                      <a:lnTo>
                        <a:pt x="744" y="1522"/>
                      </a:lnTo>
                      <a:lnTo>
                        <a:pt x="754" y="1528"/>
                      </a:lnTo>
                      <a:lnTo>
                        <a:pt x="754" y="1528"/>
                      </a:lnTo>
                      <a:lnTo>
                        <a:pt x="758" y="1530"/>
                      </a:lnTo>
                      <a:lnTo>
                        <a:pt x="768" y="1532"/>
                      </a:lnTo>
                      <a:lnTo>
                        <a:pt x="774" y="1532"/>
                      </a:lnTo>
                      <a:lnTo>
                        <a:pt x="780" y="1532"/>
                      </a:lnTo>
                      <a:lnTo>
                        <a:pt x="786" y="1528"/>
                      </a:lnTo>
                      <a:lnTo>
                        <a:pt x="794" y="1520"/>
                      </a:lnTo>
                      <a:lnTo>
                        <a:pt x="794" y="1520"/>
                      </a:lnTo>
                      <a:lnTo>
                        <a:pt x="800" y="1512"/>
                      </a:lnTo>
                      <a:lnTo>
                        <a:pt x="806" y="1500"/>
                      </a:lnTo>
                      <a:lnTo>
                        <a:pt x="812" y="1478"/>
                      </a:lnTo>
                      <a:lnTo>
                        <a:pt x="816" y="1458"/>
                      </a:lnTo>
                      <a:lnTo>
                        <a:pt x="816" y="1452"/>
                      </a:lnTo>
                      <a:lnTo>
                        <a:pt x="840" y="1406"/>
                      </a:lnTo>
                      <a:lnTo>
                        <a:pt x="844" y="1388"/>
                      </a:lnTo>
                      <a:lnTo>
                        <a:pt x="870" y="1386"/>
                      </a:lnTo>
                      <a:lnTo>
                        <a:pt x="894" y="1318"/>
                      </a:lnTo>
                      <a:lnTo>
                        <a:pt x="922" y="1204"/>
                      </a:lnTo>
                      <a:lnTo>
                        <a:pt x="952" y="1056"/>
                      </a:lnTo>
                      <a:lnTo>
                        <a:pt x="970" y="942"/>
                      </a:lnTo>
                      <a:lnTo>
                        <a:pt x="970" y="942"/>
                      </a:lnTo>
                      <a:lnTo>
                        <a:pt x="974" y="940"/>
                      </a:lnTo>
                      <a:lnTo>
                        <a:pt x="978" y="928"/>
                      </a:lnTo>
                      <a:lnTo>
                        <a:pt x="984" y="908"/>
                      </a:lnTo>
                      <a:lnTo>
                        <a:pt x="986" y="894"/>
                      </a:lnTo>
                      <a:lnTo>
                        <a:pt x="988" y="880"/>
                      </a:lnTo>
                      <a:lnTo>
                        <a:pt x="988" y="880"/>
                      </a:lnTo>
                      <a:lnTo>
                        <a:pt x="990" y="866"/>
                      </a:lnTo>
                      <a:lnTo>
                        <a:pt x="994" y="858"/>
                      </a:lnTo>
                      <a:lnTo>
                        <a:pt x="1000" y="856"/>
                      </a:lnTo>
                      <a:lnTo>
                        <a:pt x="1004" y="854"/>
                      </a:lnTo>
                      <a:lnTo>
                        <a:pt x="1004" y="880"/>
                      </a:lnTo>
                      <a:lnTo>
                        <a:pt x="996" y="942"/>
                      </a:lnTo>
                      <a:lnTo>
                        <a:pt x="998" y="962"/>
                      </a:lnTo>
                      <a:lnTo>
                        <a:pt x="990" y="990"/>
                      </a:lnTo>
                      <a:lnTo>
                        <a:pt x="990" y="1034"/>
                      </a:lnTo>
                      <a:lnTo>
                        <a:pt x="990" y="1046"/>
                      </a:lnTo>
                      <a:lnTo>
                        <a:pt x="990" y="1108"/>
                      </a:lnTo>
                      <a:lnTo>
                        <a:pt x="998" y="1112"/>
                      </a:lnTo>
                      <a:lnTo>
                        <a:pt x="998" y="1122"/>
                      </a:lnTo>
                      <a:lnTo>
                        <a:pt x="990" y="1130"/>
                      </a:lnTo>
                      <a:lnTo>
                        <a:pt x="992" y="1160"/>
                      </a:lnTo>
                      <a:lnTo>
                        <a:pt x="992" y="1208"/>
                      </a:lnTo>
                      <a:lnTo>
                        <a:pt x="1010" y="1248"/>
                      </a:lnTo>
                      <a:lnTo>
                        <a:pt x="1040" y="1274"/>
                      </a:lnTo>
                      <a:lnTo>
                        <a:pt x="1044" y="1246"/>
                      </a:lnTo>
                      <a:lnTo>
                        <a:pt x="1048" y="1274"/>
                      </a:lnTo>
                      <a:lnTo>
                        <a:pt x="1078" y="1248"/>
                      </a:lnTo>
                      <a:lnTo>
                        <a:pt x="1096" y="1208"/>
                      </a:lnTo>
                      <a:lnTo>
                        <a:pt x="1096" y="1160"/>
                      </a:lnTo>
                      <a:lnTo>
                        <a:pt x="1098" y="1130"/>
                      </a:lnTo>
                      <a:lnTo>
                        <a:pt x="1088" y="1122"/>
                      </a:lnTo>
                      <a:lnTo>
                        <a:pt x="1088" y="1112"/>
                      </a:lnTo>
                      <a:lnTo>
                        <a:pt x="1098" y="1108"/>
                      </a:lnTo>
                      <a:lnTo>
                        <a:pt x="1098" y="1046"/>
                      </a:lnTo>
                      <a:lnTo>
                        <a:pt x="1098" y="1034"/>
                      </a:lnTo>
                      <a:lnTo>
                        <a:pt x="1098" y="990"/>
                      </a:lnTo>
                      <a:lnTo>
                        <a:pt x="1088" y="962"/>
                      </a:lnTo>
                      <a:lnTo>
                        <a:pt x="1090" y="942"/>
                      </a:lnTo>
                      <a:lnTo>
                        <a:pt x="1084" y="880"/>
                      </a:lnTo>
                      <a:lnTo>
                        <a:pt x="1082" y="856"/>
                      </a:lnTo>
                      <a:lnTo>
                        <a:pt x="1082" y="856"/>
                      </a:lnTo>
                      <a:lnTo>
                        <a:pt x="1088" y="854"/>
                      </a:lnTo>
                      <a:lnTo>
                        <a:pt x="1094" y="858"/>
                      </a:lnTo>
                      <a:lnTo>
                        <a:pt x="1100" y="866"/>
                      </a:lnTo>
                      <a:lnTo>
                        <a:pt x="1102" y="880"/>
                      </a:lnTo>
                      <a:lnTo>
                        <a:pt x="1102" y="880"/>
                      </a:lnTo>
                      <a:lnTo>
                        <a:pt x="1102" y="894"/>
                      </a:lnTo>
                      <a:lnTo>
                        <a:pt x="1106" y="908"/>
                      </a:lnTo>
                      <a:lnTo>
                        <a:pt x="1112" y="928"/>
                      </a:lnTo>
                      <a:lnTo>
                        <a:pt x="1116" y="940"/>
                      </a:lnTo>
                      <a:lnTo>
                        <a:pt x="1120" y="942"/>
                      </a:lnTo>
                      <a:lnTo>
                        <a:pt x="1138" y="1056"/>
                      </a:lnTo>
                      <a:lnTo>
                        <a:pt x="1168" y="1204"/>
                      </a:lnTo>
                      <a:lnTo>
                        <a:pt x="1196" y="1318"/>
                      </a:lnTo>
                      <a:lnTo>
                        <a:pt x="1220" y="1386"/>
                      </a:lnTo>
                      <a:lnTo>
                        <a:pt x="1246" y="1388"/>
                      </a:lnTo>
                      <a:lnTo>
                        <a:pt x="1250" y="1406"/>
                      </a:lnTo>
                      <a:lnTo>
                        <a:pt x="1274" y="1452"/>
                      </a:lnTo>
                      <a:lnTo>
                        <a:pt x="1274" y="1452"/>
                      </a:lnTo>
                      <a:lnTo>
                        <a:pt x="1274" y="1458"/>
                      </a:lnTo>
                      <a:lnTo>
                        <a:pt x="1278" y="1478"/>
                      </a:lnTo>
                      <a:lnTo>
                        <a:pt x="1284" y="1500"/>
                      </a:lnTo>
                      <a:lnTo>
                        <a:pt x="1290" y="1512"/>
                      </a:lnTo>
                      <a:lnTo>
                        <a:pt x="1296" y="1520"/>
                      </a:lnTo>
                      <a:lnTo>
                        <a:pt x="1296" y="1520"/>
                      </a:lnTo>
                      <a:lnTo>
                        <a:pt x="1304" y="1528"/>
                      </a:lnTo>
                      <a:lnTo>
                        <a:pt x="1310" y="1532"/>
                      </a:lnTo>
                      <a:lnTo>
                        <a:pt x="1316" y="1532"/>
                      </a:lnTo>
                      <a:lnTo>
                        <a:pt x="1322" y="1532"/>
                      </a:lnTo>
                      <a:lnTo>
                        <a:pt x="1332" y="1530"/>
                      </a:lnTo>
                      <a:lnTo>
                        <a:pt x="1334" y="1528"/>
                      </a:lnTo>
                      <a:lnTo>
                        <a:pt x="1334" y="1528"/>
                      </a:lnTo>
                      <a:lnTo>
                        <a:pt x="1346" y="1522"/>
                      </a:lnTo>
                      <a:lnTo>
                        <a:pt x="1356" y="1518"/>
                      </a:lnTo>
                      <a:lnTo>
                        <a:pt x="1366" y="1516"/>
                      </a:lnTo>
                      <a:lnTo>
                        <a:pt x="1366" y="1516"/>
                      </a:lnTo>
                      <a:lnTo>
                        <a:pt x="1374" y="1518"/>
                      </a:lnTo>
                      <a:lnTo>
                        <a:pt x="1382" y="1522"/>
                      </a:lnTo>
                      <a:lnTo>
                        <a:pt x="1390" y="1528"/>
                      </a:lnTo>
                      <a:lnTo>
                        <a:pt x="1390" y="1528"/>
                      </a:lnTo>
                      <a:lnTo>
                        <a:pt x="1398" y="1532"/>
                      </a:lnTo>
                      <a:lnTo>
                        <a:pt x="1406" y="1536"/>
                      </a:lnTo>
                      <a:lnTo>
                        <a:pt x="1420" y="1538"/>
                      </a:lnTo>
                      <a:lnTo>
                        <a:pt x="1420" y="1538"/>
                      </a:lnTo>
                      <a:lnTo>
                        <a:pt x="1426" y="1538"/>
                      </a:lnTo>
                      <a:lnTo>
                        <a:pt x="1422" y="1536"/>
                      </a:lnTo>
                      <a:lnTo>
                        <a:pt x="1420" y="1536"/>
                      </a:lnTo>
                      <a:lnTo>
                        <a:pt x="1422" y="1532"/>
                      </a:lnTo>
                      <a:lnTo>
                        <a:pt x="1428" y="1528"/>
                      </a:lnTo>
                      <a:lnTo>
                        <a:pt x="1442" y="1520"/>
                      </a:lnTo>
                      <a:lnTo>
                        <a:pt x="1442" y="1520"/>
                      </a:lnTo>
                      <a:lnTo>
                        <a:pt x="1458" y="1516"/>
                      </a:lnTo>
                      <a:lnTo>
                        <a:pt x="1470" y="1514"/>
                      </a:lnTo>
                      <a:lnTo>
                        <a:pt x="1482" y="1514"/>
                      </a:lnTo>
                      <a:lnTo>
                        <a:pt x="1490" y="1516"/>
                      </a:lnTo>
                      <a:lnTo>
                        <a:pt x="1496" y="1518"/>
                      </a:lnTo>
                      <a:lnTo>
                        <a:pt x="1500" y="1522"/>
                      </a:lnTo>
                      <a:lnTo>
                        <a:pt x="1502" y="1526"/>
                      </a:lnTo>
                      <a:lnTo>
                        <a:pt x="1502" y="1526"/>
                      </a:lnTo>
                      <a:lnTo>
                        <a:pt x="1508" y="1532"/>
                      </a:lnTo>
                      <a:lnTo>
                        <a:pt x="1522" y="1554"/>
                      </a:lnTo>
                      <a:lnTo>
                        <a:pt x="1542" y="1592"/>
                      </a:lnTo>
                      <a:lnTo>
                        <a:pt x="1568" y="1650"/>
                      </a:lnTo>
                      <a:lnTo>
                        <a:pt x="1568" y="1650"/>
                      </a:lnTo>
                      <a:lnTo>
                        <a:pt x="1576" y="1666"/>
                      </a:lnTo>
                      <a:lnTo>
                        <a:pt x="1582" y="1678"/>
                      </a:lnTo>
                      <a:lnTo>
                        <a:pt x="1590" y="1690"/>
                      </a:lnTo>
                      <a:lnTo>
                        <a:pt x="1598" y="1698"/>
                      </a:lnTo>
                      <a:lnTo>
                        <a:pt x="1604" y="1704"/>
                      </a:lnTo>
                      <a:lnTo>
                        <a:pt x="1612" y="1710"/>
                      </a:lnTo>
                      <a:lnTo>
                        <a:pt x="1620" y="1712"/>
                      </a:lnTo>
                      <a:lnTo>
                        <a:pt x="1626" y="1714"/>
                      </a:lnTo>
                      <a:lnTo>
                        <a:pt x="1634" y="1714"/>
                      </a:lnTo>
                      <a:lnTo>
                        <a:pt x="1640" y="1714"/>
                      </a:lnTo>
                      <a:lnTo>
                        <a:pt x="1652" y="1710"/>
                      </a:lnTo>
                      <a:lnTo>
                        <a:pt x="1664" y="1702"/>
                      </a:lnTo>
                      <a:lnTo>
                        <a:pt x="1672" y="1692"/>
                      </a:lnTo>
                      <a:lnTo>
                        <a:pt x="1672" y="1692"/>
                      </a:lnTo>
                      <a:lnTo>
                        <a:pt x="1676" y="1686"/>
                      </a:lnTo>
                      <a:lnTo>
                        <a:pt x="1678" y="1680"/>
                      </a:lnTo>
                      <a:lnTo>
                        <a:pt x="1682" y="1666"/>
                      </a:lnTo>
                      <a:lnTo>
                        <a:pt x="1680" y="1650"/>
                      </a:lnTo>
                      <a:lnTo>
                        <a:pt x="1678" y="1636"/>
                      </a:lnTo>
                      <a:lnTo>
                        <a:pt x="1670" y="1614"/>
                      </a:lnTo>
                      <a:lnTo>
                        <a:pt x="1666" y="1604"/>
                      </a:lnTo>
                      <a:lnTo>
                        <a:pt x="1666" y="1604"/>
                      </a:lnTo>
                      <a:lnTo>
                        <a:pt x="1650" y="1578"/>
                      </a:lnTo>
                      <a:lnTo>
                        <a:pt x="1636" y="1560"/>
                      </a:lnTo>
                      <a:lnTo>
                        <a:pt x="1630" y="1554"/>
                      </a:lnTo>
                      <a:lnTo>
                        <a:pt x="1622" y="1550"/>
                      </a:lnTo>
                      <a:lnTo>
                        <a:pt x="1622" y="1550"/>
                      </a:lnTo>
                      <a:lnTo>
                        <a:pt x="1618" y="1546"/>
                      </a:lnTo>
                      <a:lnTo>
                        <a:pt x="1612" y="1540"/>
                      </a:lnTo>
                      <a:lnTo>
                        <a:pt x="1598" y="1522"/>
                      </a:lnTo>
                      <a:lnTo>
                        <a:pt x="1566" y="1462"/>
                      </a:lnTo>
                      <a:lnTo>
                        <a:pt x="1566" y="1462"/>
                      </a:lnTo>
                      <a:lnTo>
                        <a:pt x="1558" y="1446"/>
                      </a:lnTo>
                      <a:lnTo>
                        <a:pt x="1554" y="1432"/>
                      </a:lnTo>
                      <a:lnTo>
                        <a:pt x="1554" y="1422"/>
                      </a:lnTo>
                      <a:lnTo>
                        <a:pt x="1556" y="1414"/>
                      </a:lnTo>
                      <a:lnTo>
                        <a:pt x="1558" y="1408"/>
                      </a:lnTo>
                      <a:lnTo>
                        <a:pt x="1560" y="1404"/>
                      </a:lnTo>
                      <a:lnTo>
                        <a:pt x="1562" y="1400"/>
                      </a:lnTo>
                      <a:lnTo>
                        <a:pt x="1564" y="1396"/>
                      </a:lnTo>
                      <a:lnTo>
                        <a:pt x="1564" y="1396"/>
                      </a:lnTo>
                      <a:lnTo>
                        <a:pt x="1564" y="1394"/>
                      </a:lnTo>
                      <a:lnTo>
                        <a:pt x="1566" y="1390"/>
                      </a:lnTo>
                      <a:lnTo>
                        <a:pt x="1576" y="1384"/>
                      </a:lnTo>
                      <a:lnTo>
                        <a:pt x="1588" y="1380"/>
                      </a:lnTo>
                      <a:lnTo>
                        <a:pt x="1604" y="1380"/>
                      </a:lnTo>
                      <a:lnTo>
                        <a:pt x="1604" y="1380"/>
                      </a:lnTo>
                      <a:lnTo>
                        <a:pt x="1616" y="1378"/>
                      </a:lnTo>
                      <a:lnTo>
                        <a:pt x="1622" y="1374"/>
                      </a:lnTo>
                      <a:lnTo>
                        <a:pt x="1630" y="1364"/>
                      </a:lnTo>
                      <a:lnTo>
                        <a:pt x="1630" y="1364"/>
                      </a:lnTo>
                      <a:lnTo>
                        <a:pt x="1632" y="1360"/>
                      </a:lnTo>
                      <a:lnTo>
                        <a:pt x="1632" y="1354"/>
                      </a:lnTo>
                      <a:lnTo>
                        <a:pt x="1632" y="1338"/>
                      </a:lnTo>
                      <a:lnTo>
                        <a:pt x="1632" y="1316"/>
                      </a:lnTo>
                      <a:lnTo>
                        <a:pt x="1632" y="1316"/>
                      </a:lnTo>
                      <a:lnTo>
                        <a:pt x="1632" y="1310"/>
                      </a:lnTo>
                      <a:lnTo>
                        <a:pt x="1634" y="1294"/>
                      </a:lnTo>
                      <a:lnTo>
                        <a:pt x="1638" y="1286"/>
                      </a:lnTo>
                      <a:lnTo>
                        <a:pt x="1642" y="1280"/>
                      </a:lnTo>
                      <a:lnTo>
                        <a:pt x="1650" y="1274"/>
                      </a:lnTo>
                      <a:lnTo>
                        <a:pt x="1662" y="1272"/>
                      </a:lnTo>
                      <a:lnTo>
                        <a:pt x="1662" y="1272"/>
                      </a:lnTo>
                      <a:lnTo>
                        <a:pt x="1674" y="1272"/>
                      </a:lnTo>
                      <a:lnTo>
                        <a:pt x="1684" y="1268"/>
                      </a:lnTo>
                      <a:lnTo>
                        <a:pt x="1692" y="1264"/>
                      </a:lnTo>
                      <a:lnTo>
                        <a:pt x="1698" y="1258"/>
                      </a:lnTo>
                      <a:lnTo>
                        <a:pt x="1706" y="1248"/>
                      </a:lnTo>
                      <a:lnTo>
                        <a:pt x="1708" y="1244"/>
                      </a:lnTo>
                      <a:lnTo>
                        <a:pt x="1710" y="1212"/>
                      </a:lnTo>
                      <a:lnTo>
                        <a:pt x="1710" y="1212"/>
                      </a:lnTo>
                      <a:lnTo>
                        <a:pt x="1710" y="1206"/>
                      </a:lnTo>
                      <a:lnTo>
                        <a:pt x="1708" y="1192"/>
                      </a:lnTo>
                      <a:lnTo>
                        <a:pt x="1710" y="1184"/>
                      </a:lnTo>
                      <a:lnTo>
                        <a:pt x="1712" y="1176"/>
                      </a:lnTo>
                      <a:lnTo>
                        <a:pt x="1718" y="1170"/>
                      </a:lnTo>
                      <a:lnTo>
                        <a:pt x="1726" y="1166"/>
                      </a:lnTo>
                      <a:lnTo>
                        <a:pt x="1726" y="1166"/>
                      </a:lnTo>
                      <a:lnTo>
                        <a:pt x="1734" y="1162"/>
                      </a:lnTo>
                      <a:lnTo>
                        <a:pt x="1738" y="1156"/>
                      </a:lnTo>
                      <a:lnTo>
                        <a:pt x="1742" y="1148"/>
                      </a:lnTo>
                      <a:lnTo>
                        <a:pt x="1746" y="1142"/>
                      </a:lnTo>
                      <a:lnTo>
                        <a:pt x="1748" y="1130"/>
                      </a:lnTo>
                      <a:lnTo>
                        <a:pt x="1748" y="1124"/>
                      </a:lnTo>
                      <a:lnTo>
                        <a:pt x="1736" y="1078"/>
                      </a:lnTo>
                      <a:lnTo>
                        <a:pt x="1724" y="1052"/>
                      </a:lnTo>
                      <a:lnTo>
                        <a:pt x="1706" y="1022"/>
                      </a:lnTo>
                      <a:lnTo>
                        <a:pt x="1702" y="1004"/>
                      </a:lnTo>
                      <a:lnTo>
                        <a:pt x="1706" y="988"/>
                      </a:lnTo>
                      <a:lnTo>
                        <a:pt x="1632" y="878"/>
                      </a:lnTo>
                      <a:lnTo>
                        <a:pt x="1632" y="878"/>
                      </a:lnTo>
                      <a:lnTo>
                        <a:pt x="1632" y="876"/>
                      </a:lnTo>
                      <a:lnTo>
                        <a:pt x="1632" y="874"/>
                      </a:lnTo>
                      <a:lnTo>
                        <a:pt x="1628" y="868"/>
                      </a:lnTo>
                      <a:lnTo>
                        <a:pt x="1620" y="858"/>
                      </a:lnTo>
                      <a:lnTo>
                        <a:pt x="1600" y="842"/>
                      </a:lnTo>
                      <a:lnTo>
                        <a:pt x="1572" y="820"/>
                      </a:lnTo>
                      <a:lnTo>
                        <a:pt x="1528" y="790"/>
                      </a:lnTo>
                      <a:lnTo>
                        <a:pt x="1466" y="754"/>
                      </a:lnTo>
                      <a:lnTo>
                        <a:pt x="1486" y="752"/>
                      </a:lnTo>
                      <a:lnTo>
                        <a:pt x="1556" y="746"/>
                      </a:lnTo>
                      <a:lnTo>
                        <a:pt x="1606" y="746"/>
                      </a:lnTo>
                      <a:lnTo>
                        <a:pt x="1660" y="746"/>
                      </a:lnTo>
                      <a:lnTo>
                        <a:pt x="1712" y="740"/>
                      </a:lnTo>
                      <a:lnTo>
                        <a:pt x="1712" y="740"/>
                      </a:lnTo>
                      <a:lnTo>
                        <a:pt x="1734" y="732"/>
                      </a:lnTo>
                      <a:lnTo>
                        <a:pt x="1750" y="724"/>
                      </a:lnTo>
                      <a:lnTo>
                        <a:pt x="1758" y="718"/>
                      </a:lnTo>
                      <a:lnTo>
                        <a:pt x="1762" y="714"/>
                      </a:lnTo>
                      <a:lnTo>
                        <a:pt x="1762" y="714"/>
                      </a:lnTo>
                      <a:lnTo>
                        <a:pt x="1776" y="694"/>
                      </a:lnTo>
                      <a:lnTo>
                        <a:pt x="1786" y="680"/>
                      </a:lnTo>
                      <a:lnTo>
                        <a:pt x="1802" y="660"/>
                      </a:lnTo>
                      <a:lnTo>
                        <a:pt x="1802" y="660"/>
                      </a:lnTo>
                      <a:lnTo>
                        <a:pt x="1818" y="640"/>
                      </a:lnTo>
                      <a:lnTo>
                        <a:pt x="1826" y="624"/>
                      </a:lnTo>
                      <a:lnTo>
                        <a:pt x="1830" y="614"/>
                      </a:lnTo>
                      <a:lnTo>
                        <a:pt x="1830" y="612"/>
                      </a:lnTo>
                      <a:lnTo>
                        <a:pt x="1830" y="612"/>
                      </a:lnTo>
                      <a:lnTo>
                        <a:pt x="1834" y="594"/>
                      </a:lnTo>
                      <a:lnTo>
                        <a:pt x="1840" y="582"/>
                      </a:lnTo>
                      <a:lnTo>
                        <a:pt x="1842" y="578"/>
                      </a:lnTo>
                      <a:lnTo>
                        <a:pt x="1846" y="574"/>
                      </a:lnTo>
                      <a:lnTo>
                        <a:pt x="1846" y="574"/>
                      </a:lnTo>
                      <a:lnTo>
                        <a:pt x="1850" y="572"/>
                      </a:lnTo>
                      <a:lnTo>
                        <a:pt x="1854" y="564"/>
                      </a:lnTo>
                      <a:lnTo>
                        <a:pt x="1864" y="546"/>
                      </a:lnTo>
                      <a:lnTo>
                        <a:pt x="1868" y="536"/>
                      </a:lnTo>
                      <a:lnTo>
                        <a:pt x="1870" y="526"/>
                      </a:lnTo>
                      <a:lnTo>
                        <a:pt x="1870" y="518"/>
                      </a:lnTo>
                      <a:lnTo>
                        <a:pt x="1868" y="512"/>
                      </a:lnTo>
                      <a:lnTo>
                        <a:pt x="1868" y="512"/>
                      </a:lnTo>
                      <a:lnTo>
                        <a:pt x="1864" y="506"/>
                      </a:lnTo>
                      <a:lnTo>
                        <a:pt x="1864" y="498"/>
                      </a:lnTo>
                      <a:lnTo>
                        <a:pt x="1866" y="492"/>
                      </a:lnTo>
                      <a:lnTo>
                        <a:pt x="1868" y="486"/>
                      </a:lnTo>
                      <a:lnTo>
                        <a:pt x="1872" y="476"/>
                      </a:lnTo>
                      <a:lnTo>
                        <a:pt x="1876" y="472"/>
                      </a:lnTo>
                      <a:lnTo>
                        <a:pt x="1876" y="472"/>
                      </a:lnTo>
                      <a:lnTo>
                        <a:pt x="1888" y="462"/>
                      </a:lnTo>
                      <a:lnTo>
                        <a:pt x="1894" y="454"/>
                      </a:lnTo>
                      <a:lnTo>
                        <a:pt x="1894" y="450"/>
                      </a:lnTo>
                      <a:lnTo>
                        <a:pt x="1894" y="446"/>
                      </a:lnTo>
                      <a:lnTo>
                        <a:pt x="1894" y="446"/>
                      </a:lnTo>
                      <a:lnTo>
                        <a:pt x="1890" y="442"/>
                      </a:lnTo>
                      <a:lnTo>
                        <a:pt x="1890" y="434"/>
                      </a:lnTo>
                      <a:lnTo>
                        <a:pt x="1892" y="416"/>
                      </a:lnTo>
                      <a:lnTo>
                        <a:pt x="1898" y="394"/>
                      </a:lnTo>
                      <a:lnTo>
                        <a:pt x="1898" y="394"/>
                      </a:lnTo>
                      <a:lnTo>
                        <a:pt x="1914" y="374"/>
                      </a:lnTo>
                      <a:lnTo>
                        <a:pt x="1926" y="360"/>
                      </a:lnTo>
                      <a:lnTo>
                        <a:pt x="1928" y="354"/>
                      </a:lnTo>
                      <a:lnTo>
                        <a:pt x="1930" y="350"/>
                      </a:lnTo>
                      <a:lnTo>
                        <a:pt x="1930" y="350"/>
                      </a:lnTo>
                      <a:lnTo>
                        <a:pt x="1934" y="340"/>
                      </a:lnTo>
                      <a:lnTo>
                        <a:pt x="1944" y="324"/>
                      </a:lnTo>
                      <a:lnTo>
                        <a:pt x="1956" y="310"/>
                      </a:lnTo>
                      <a:lnTo>
                        <a:pt x="1964" y="304"/>
                      </a:lnTo>
                      <a:lnTo>
                        <a:pt x="1972" y="300"/>
                      </a:lnTo>
                      <a:lnTo>
                        <a:pt x="1972" y="300"/>
                      </a:lnTo>
                      <a:lnTo>
                        <a:pt x="1978" y="296"/>
                      </a:lnTo>
                      <a:lnTo>
                        <a:pt x="1986" y="290"/>
                      </a:lnTo>
                      <a:lnTo>
                        <a:pt x="1996" y="278"/>
                      </a:lnTo>
                      <a:lnTo>
                        <a:pt x="2004" y="264"/>
                      </a:lnTo>
                      <a:lnTo>
                        <a:pt x="2004" y="264"/>
                      </a:lnTo>
                      <a:lnTo>
                        <a:pt x="2010" y="252"/>
                      </a:lnTo>
                      <a:lnTo>
                        <a:pt x="2016" y="240"/>
                      </a:lnTo>
                      <a:lnTo>
                        <a:pt x="2020" y="236"/>
                      </a:lnTo>
                      <a:lnTo>
                        <a:pt x="2024" y="234"/>
                      </a:lnTo>
                      <a:lnTo>
                        <a:pt x="2024" y="234"/>
                      </a:lnTo>
                      <a:lnTo>
                        <a:pt x="2030" y="232"/>
                      </a:lnTo>
                      <a:lnTo>
                        <a:pt x="2034" y="226"/>
                      </a:lnTo>
                      <a:lnTo>
                        <a:pt x="2046" y="214"/>
                      </a:lnTo>
                      <a:lnTo>
                        <a:pt x="2056" y="198"/>
                      </a:lnTo>
                      <a:lnTo>
                        <a:pt x="2078" y="154"/>
                      </a:lnTo>
                      <a:lnTo>
                        <a:pt x="2090" y="112"/>
                      </a:lnTo>
                      <a:lnTo>
                        <a:pt x="2088" y="78"/>
                      </a:lnTo>
                      <a:close/>
                      <a:moveTo>
                        <a:pt x="1040" y="574"/>
                      </a:move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>
                  <a:glow rad="38100">
                    <a:schemeClr val="bg2">
                      <a:lumMod val="60000"/>
                      <a:lumOff val="40000"/>
                      <a:alpha val="19000"/>
                    </a:schemeClr>
                  </a:glow>
                  <a:softEdge rad="127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0" name="Group 48"/>
              <p:cNvGrpSpPr>
                <a:grpSpLocks noChangeAspect="1"/>
              </p:cNvGrpSpPr>
              <p:nvPr/>
            </p:nvGrpSpPr>
            <p:grpSpPr>
              <a:xfrm rot="1419986">
                <a:off x="7374137" y="629719"/>
                <a:ext cx="1046470" cy="892409"/>
                <a:chOff x="5181600" y="457200"/>
                <a:chExt cx="3235325" cy="2759075"/>
              </a:xfrm>
              <a:solidFill>
                <a:schemeClr val="bg2">
                  <a:lumMod val="60000"/>
                  <a:lumOff val="40000"/>
                  <a:alpha val="8000"/>
                </a:schemeClr>
              </a:solidFill>
            </p:grpSpPr>
            <p:sp>
              <p:nvSpPr>
                <p:cNvPr id="216" name="Freeform 86"/>
                <p:cNvSpPr>
                  <a:spLocks/>
                </p:cNvSpPr>
                <p:nvPr/>
              </p:nvSpPr>
              <p:spPr bwMode="auto">
                <a:xfrm>
                  <a:off x="6400801" y="787399"/>
                  <a:ext cx="390524" cy="581026"/>
                </a:xfrm>
                <a:custGeom>
                  <a:avLst/>
                  <a:gdLst/>
                  <a:ahLst/>
                  <a:cxnLst>
                    <a:cxn ang="0">
                      <a:pos x="242" y="366"/>
                    </a:cxn>
                    <a:cxn ang="0">
                      <a:pos x="242" y="366"/>
                    </a:cxn>
                    <a:cxn ang="0">
                      <a:pos x="244" y="364"/>
                    </a:cxn>
                    <a:cxn ang="0">
                      <a:pos x="246" y="364"/>
                    </a:cxn>
                    <a:cxn ang="0">
                      <a:pos x="246" y="364"/>
                    </a:cxn>
                    <a:cxn ang="0">
                      <a:pos x="236" y="348"/>
                    </a:cxn>
                    <a:cxn ang="0">
                      <a:pos x="50" y="54"/>
                    </a:cxn>
                    <a:cxn ang="0">
                      <a:pos x="50" y="54"/>
                    </a:cxn>
                    <a:cxn ang="0">
                      <a:pos x="32" y="28"/>
                    </a:cxn>
                    <a:cxn ang="0">
                      <a:pos x="32" y="26"/>
                    </a:cxn>
                    <a:cxn ang="0">
                      <a:pos x="32" y="26"/>
                    </a:cxn>
                    <a:cxn ang="0">
                      <a:pos x="22" y="14"/>
                    </a:cxn>
                    <a:cxn ang="0">
                      <a:pos x="10" y="4"/>
                    </a:cxn>
                    <a:cxn ang="0">
                      <a:pos x="10" y="4"/>
                    </a:cxn>
                    <a:cxn ang="0">
                      <a:pos x="6" y="2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6"/>
                    </a:cxn>
                    <a:cxn ang="0">
                      <a:pos x="0" y="6"/>
                    </a:cxn>
                    <a:cxn ang="0">
                      <a:pos x="4" y="16"/>
                    </a:cxn>
                    <a:cxn ang="0">
                      <a:pos x="10" y="24"/>
                    </a:cxn>
                    <a:cxn ang="0">
                      <a:pos x="10" y="24"/>
                    </a:cxn>
                    <a:cxn ang="0">
                      <a:pos x="20" y="34"/>
                    </a:cxn>
                    <a:cxn ang="0">
                      <a:pos x="28" y="44"/>
                    </a:cxn>
                    <a:cxn ang="0">
                      <a:pos x="232" y="352"/>
                    </a:cxn>
                    <a:cxn ang="0">
                      <a:pos x="232" y="352"/>
                    </a:cxn>
                    <a:cxn ang="0">
                      <a:pos x="238" y="362"/>
                    </a:cxn>
                    <a:cxn ang="0">
                      <a:pos x="242" y="366"/>
                    </a:cxn>
                    <a:cxn ang="0">
                      <a:pos x="242" y="366"/>
                    </a:cxn>
                  </a:cxnLst>
                  <a:rect l="0" t="0" r="r" b="b"/>
                  <a:pathLst>
                    <a:path w="246" h="366">
                      <a:moveTo>
                        <a:pt x="242" y="366"/>
                      </a:moveTo>
                      <a:lnTo>
                        <a:pt x="242" y="366"/>
                      </a:lnTo>
                      <a:lnTo>
                        <a:pt x="244" y="364"/>
                      </a:lnTo>
                      <a:lnTo>
                        <a:pt x="246" y="364"/>
                      </a:lnTo>
                      <a:lnTo>
                        <a:pt x="246" y="364"/>
                      </a:lnTo>
                      <a:lnTo>
                        <a:pt x="236" y="348"/>
                      </a:lnTo>
                      <a:lnTo>
                        <a:pt x="50" y="54"/>
                      </a:lnTo>
                      <a:lnTo>
                        <a:pt x="50" y="54"/>
                      </a:lnTo>
                      <a:lnTo>
                        <a:pt x="32" y="28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22" y="1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16"/>
                      </a:lnTo>
                      <a:lnTo>
                        <a:pt x="10" y="24"/>
                      </a:lnTo>
                      <a:lnTo>
                        <a:pt x="10" y="24"/>
                      </a:lnTo>
                      <a:lnTo>
                        <a:pt x="20" y="34"/>
                      </a:lnTo>
                      <a:lnTo>
                        <a:pt x="28" y="44"/>
                      </a:lnTo>
                      <a:lnTo>
                        <a:pt x="232" y="352"/>
                      </a:lnTo>
                      <a:lnTo>
                        <a:pt x="232" y="352"/>
                      </a:lnTo>
                      <a:lnTo>
                        <a:pt x="238" y="362"/>
                      </a:lnTo>
                      <a:lnTo>
                        <a:pt x="242" y="366"/>
                      </a:lnTo>
                      <a:lnTo>
                        <a:pt x="242" y="3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6791325" y="1381124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8" name="Freeform 88"/>
                <p:cNvSpPr>
                  <a:spLocks/>
                </p:cNvSpPr>
                <p:nvPr/>
              </p:nvSpPr>
              <p:spPr bwMode="auto">
                <a:xfrm>
                  <a:off x="6819900" y="787399"/>
                  <a:ext cx="387350" cy="581026"/>
                </a:xfrm>
                <a:custGeom>
                  <a:avLst/>
                  <a:gdLst/>
                  <a:ahLst/>
                  <a:cxnLst>
                    <a:cxn ang="0">
                      <a:pos x="2" y="366"/>
                    </a:cxn>
                    <a:cxn ang="0">
                      <a:pos x="2" y="366"/>
                    </a:cxn>
                    <a:cxn ang="0">
                      <a:pos x="6" y="362"/>
                    </a:cxn>
                    <a:cxn ang="0">
                      <a:pos x="14" y="352"/>
                    </a:cxn>
                    <a:cxn ang="0">
                      <a:pos x="216" y="44"/>
                    </a:cxn>
                    <a:cxn ang="0">
                      <a:pos x="216" y="44"/>
                    </a:cxn>
                    <a:cxn ang="0">
                      <a:pos x="226" y="34"/>
                    </a:cxn>
                    <a:cxn ang="0">
                      <a:pos x="234" y="24"/>
                    </a:cxn>
                    <a:cxn ang="0">
                      <a:pos x="234" y="24"/>
                    </a:cxn>
                    <a:cxn ang="0">
                      <a:pos x="240" y="16"/>
                    </a:cxn>
                    <a:cxn ang="0">
                      <a:pos x="244" y="6"/>
                    </a:cxn>
                    <a:cxn ang="0">
                      <a:pos x="244" y="6"/>
                    </a:cxn>
                    <a:cxn ang="0">
                      <a:pos x="244" y="2"/>
                    </a:cxn>
                    <a:cxn ang="0">
                      <a:pos x="242" y="0"/>
                    </a:cxn>
                    <a:cxn ang="0">
                      <a:pos x="238" y="2"/>
                    </a:cxn>
                    <a:cxn ang="0">
                      <a:pos x="234" y="4"/>
                    </a:cxn>
                    <a:cxn ang="0">
                      <a:pos x="234" y="4"/>
                    </a:cxn>
                    <a:cxn ang="0">
                      <a:pos x="222" y="14"/>
                    </a:cxn>
                    <a:cxn ang="0">
                      <a:pos x="212" y="26"/>
                    </a:cxn>
                    <a:cxn ang="0">
                      <a:pos x="212" y="28"/>
                    </a:cxn>
                    <a:cxn ang="0">
                      <a:pos x="212" y="28"/>
                    </a:cxn>
                    <a:cxn ang="0">
                      <a:pos x="194" y="54"/>
                    </a:cxn>
                    <a:cxn ang="0">
                      <a:pos x="8" y="348"/>
                    </a:cxn>
                    <a:cxn ang="0">
                      <a:pos x="8" y="348"/>
                    </a:cxn>
                    <a:cxn ang="0">
                      <a:pos x="0" y="364"/>
                    </a:cxn>
                    <a:cxn ang="0">
                      <a:pos x="0" y="364"/>
                    </a:cxn>
                    <a:cxn ang="0">
                      <a:pos x="0" y="366"/>
                    </a:cxn>
                    <a:cxn ang="0">
                      <a:pos x="0" y="366"/>
                    </a:cxn>
                    <a:cxn ang="0">
                      <a:pos x="2" y="366"/>
                    </a:cxn>
                    <a:cxn ang="0">
                      <a:pos x="2" y="366"/>
                    </a:cxn>
                  </a:cxnLst>
                  <a:rect l="0" t="0" r="r" b="b"/>
                  <a:pathLst>
                    <a:path w="244" h="366">
                      <a:moveTo>
                        <a:pt x="2" y="366"/>
                      </a:moveTo>
                      <a:lnTo>
                        <a:pt x="2" y="366"/>
                      </a:lnTo>
                      <a:lnTo>
                        <a:pt x="6" y="362"/>
                      </a:lnTo>
                      <a:lnTo>
                        <a:pt x="14" y="352"/>
                      </a:lnTo>
                      <a:lnTo>
                        <a:pt x="216" y="44"/>
                      </a:lnTo>
                      <a:lnTo>
                        <a:pt x="216" y="44"/>
                      </a:lnTo>
                      <a:lnTo>
                        <a:pt x="226" y="34"/>
                      </a:lnTo>
                      <a:lnTo>
                        <a:pt x="234" y="24"/>
                      </a:lnTo>
                      <a:lnTo>
                        <a:pt x="234" y="24"/>
                      </a:lnTo>
                      <a:lnTo>
                        <a:pt x="240" y="16"/>
                      </a:lnTo>
                      <a:lnTo>
                        <a:pt x="244" y="6"/>
                      </a:lnTo>
                      <a:lnTo>
                        <a:pt x="244" y="6"/>
                      </a:lnTo>
                      <a:lnTo>
                        <a:pt x="244" y="2"/>
                      </a:lnTo>
                      <a:lnTo>
                        <a:pt x="242" y="0"/>
                      </a:lnTo>
                      <a:lnTo>
                        <a:pt x="238" y="2"/>
                      </a:lnTo>
                      <a:lnTo>
                        <a:pt x="234" y="4"/>
                      </a:lnTo>
                      <a:lnTo>
                        <a:pt x="234" y="4"/>
                      </a:lnTo>
                      <a:lnTo>
                        <a:pt x="222" y="14"/>
                      </a:lnTo>
                      <a:lnTo>
                        <a:pt x="212" y="26"/>
                      </a:lnTo>
                      <a:lnTo>
                        <a:pt x="212" y="28"/>
                      </a:lnTo>
                      <a:lnTo>
                        <a:pt x="212" y="28"/>
                      </a:lnTo>
                      <a:lnTo>
                        <a:pt x="194" y="54"/>
                      </a:lnTo>
                      <a:lnTo>
                        <a:pt x="8" y="348"/>
                      </a:lnTo>
                      <a:lnTo>
                        <a:pt x="8" y="348"/>
                      </a:lnTo>
                      <a:lnTo>
                        <a:pt x="0" y="364"/>
                      </a:lnTo>
                      <a:lnTo>
                        <a:pt x="0" y="364"/>
                      </a:lnTo>
                      <a:lnTo>
                        <a:pt x="0" y="366"/>
                      </a:lnTo>
                      <a:lnTo>
                        <a:pt x="0" y="366"/>
                      </a:lnTo>
                      <a:lnTo>
                        <a:pt x="2" y="366"/>
                      </a:lnTo>
                      <a:lnTo>
                        <a:pt x="2" y="3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9" name="Freeform 89"/>
                <p:cNvSpPr>
                  <a:spLocks noEditPoints="1"/>
                </p:cNvSpPr>
                <p:nvPr/>
              </p:nvSpPr>
              <p:spPr bwMode="auto">
                <a:xfrm>
                  <a:off x="5181600" y="457200"/>
                  <a:ext cx="3235325" cy="2759075"/>
                </a:xfrm>
                <a:custGeom>
                  <a:avLst/>
                  <a:gdLst/>
                  <a:ahLst/>
                  <a:cxnLst>
                    <a:cxn ang="0">
                      <a:pos x="1778" y="8"/>
                    </a:cxn>
                    <a:cxn ang="0">
                      <a:pos x="1424" y="184"/>
                    </a:cxn>
                    <a:cxn ang="0">
                      <a:pos x="1152" y="514"/>
                    </a:cxn>
                    <a:cxn ang="0">
                      <a:pos x="1064" y="610"/>
                    </a:cxn>
                    <a:cxn ang="0">
                      <a:pos x="1042" y="574"/>
                    </a:cxn>
                    <a:cxn ang="0">
                      <a:pos x="1014" y="574"/>
                    </a:cxn>
                    <a:cxn ang="0">
                      <a:pos x="982" y="586"/>
                    </a:cxn>
                    <a:cxn ang="0">
                      <a:pos x="964" y="644"/>
                    </a:cxn>
                    <a:cxn ang="0">
                      <a:pos x="774" y="350"/>
                    </a:cxn>
                    <a:cxn ang="0">
                      <a:pos x="432" y="66"/>
                    </a:cxn>
                    <a:cxn ang="0">
                      <a:pos x="60" y="14"/>
                    </a:cxn>
                    <a:cxn ang="0">
                      <a:pos x="58" y="236"/>
                    </a:cxn>
                    <a:cxn ang="0">
                      <a:pos x="100" y="298"/>
                    </a:cxn>
                    <a:cxn ang="0">
                      <a:pos x="154" y="358"/>
                    </a:cxn>
                    <a:cxn ang="0">
                      <a:pos x="190" y="458"/>
                    </a:cxn>
                    <a:cxn ang="0">
                      <a:pos x="216" y="506"/>
                    </a:cxn>
                    <a:cxn ang="0">
                      <a:pos x="228" y="580"/>
                    </a:cxn>
                    <a:cxn ang="0">
                      <a:pos x="252" y="632"/>
                    </a:cxn>
                    <a:cxn ang="0">
                      <a:pos x="320" y="740"/>
                    </a:cxn>
                    <a:cxn ang="0">
                      <a:pos x="628" y="780"/>
                    </a:cxn>
                    <a:cxn ang="0">
                      <a:pos x="422" y="938"/>
                    </a:cxn>
                    <a:cxn ang="0">
                      <a:pos x="446" y="1044"/>
                    </a:cxn>
                    <a:cxn ang="0">
                      <a:pos x="548" y="1174"/>
                    </a:cxn>
                    <a:cxn ang="0">
                      <a:pos x="588" y="1256"/>
                    </a:cxn>
                    <a:cxn ang="0">
                      <a:pos x="646" y="1306"/>
                    </a:cxn>
                    <a:cxn ang="0">
                      <a:pos x="650" y="1464"/>
                    </a:cxn>
                    <a:cxn ang="0">
                      <a:pos x="562" y="1580"/>
                    </a:cxn>
                    <a:cxn ang="0">
                      <a:pos x="516" y="1698"/>
                    </a:cxn>
                    <a:cxn ang="0">
                      <a:pos x="554" y="1734"/>
                    </a:cxn>
                    <a:cxn ang="0">
                      <a:pos x="670" y="1586"/>
                    </a:cxn>
                    <a:cxn ang="0">
                      <a:pos x="770" y="1476"/>
                    </a:cxn>
                    <a:cxn ang="0">
                      <a:pos x="890" y="1070"/>
                    </a:cxn>
                    <a:cxn ang="0">
                      <a:pos x="938" y="954"/>
                    </a:cxn>
                    <a:cxn ang="0">
                      <a:pos x="962" y="1146"/>
                    </a:cxn>
                    <a:cxn ang="0">
                      <a:pos x="1022" y="1320"/>
                    </a:cxn>
                    <a:cxn ang="0">
                      <a:pos x="1076" y="1068"/>
                    </a:cxn>
                    <a:cxn ang="0">
                      <a:pos x="1106" y="958"/>
                    </a:cxn>
                    <a:cxn ang="0">
                      <a:pos x="1160" y="1136"/>
                    </a:cxn>
                    <a:cxn ang="0">
                      <a:pos x="1268" y="1476"/>
                    </a:cxn>
                    <a:cxn ang="0">
                      <a:pos x="1366" y="1586"/>
                    </a:cxn>
                    <a:cxn ang="0">
                      <a:pos x="1494" y="1738"/>
                    </a:cxn>
                    <a:cxn ang="0">
                      <a:pos x="1520" y="1676"/>
                    </a:cxn>
                    <a:cxn ang="0">
                      <a:pos x="1456" y="1558"/>
                    </a:cxn>
                    <a:cxn ang="0">
                      <a:pos x="1382" y="1442"/>
                    </a:cxn>
                    <a:cxn ang="0">
                      <a:pos x="1396" y="1300"/>
                    </a:cxn>
                    <a:cxn ang="0">
                      <a:pos x="1460" y="1236"/>
                    </a:cxn>
                    <a:cxn ang="0">
                      <a:pos x="1508" y="1166"/>
                    </a:cxn>
                    <a:cxn ang="0">
                      <a:pos x="1600" y="1020"/>
                    </a:cxn>
                    <a:cxn ang="0">
                      <a:pos x="1596" y="918"/>
                    </a:cxn>
                    <a:cxn ang="0">
                      <a:pos x="1454" y="772"/>
                    </a:cxn>
                    <a:cxn ang="0">
                      <a:pos x="1722" y="734"/>
                    </a:cxn>
                    <a:cxn ang="0">
                      <a:pos x="1788" y="628"/>
                    </a:cxn>
                    <a:cxn ang="0">
                      <a:pos x="1820" y="562"/>
                    </a:cxn>
                    <a:cxn ang="0">
                      <a:pos x="1824" y="498"/>
                    </a:cxn>
                    <a:cxn ang="0">
                      <a:pos x="1846" y="452"/>
                    </a:cxn>
                    <a:cxn ang="0">
                      <a:pos x="1884" y="358"/>
                    </a:cxn>
                    <a:cxn ang="0">
                      <a:pos x="1946" y="286"/>
                    </a:cxn>
                    <a:cxn ang="0">
                      <a:pos x="1984" y="232"/>
                    </a:cxn>
                    <a:cxn ang="0">
                      <a:pos x="1014" y="582"/>
                    </a:cxn>
                  </a:cxnLst>
                  <a:rect l="0" t="0" r="r" b="b"/>
                  <a:pathLst>
                    <a:path w="2038" h="1738">
                      <a:moveTo>
                        <a:pt x="2036" y="78"/>
                      </a:moveTo>
                      <a:lnTo>
                        <a:pt x="2018" y="44"/>
                      </a:lnTo>
                      <a:lnTo>
                        <a:pt x="1978" y="14"/>
                      </a:lnTo>
                      <a:lnTo>
                        <a:pt x="1916" y="2"/>
                      </a:lnTo>
                      <a:lnTo>
                        <a:pt x="1850" y="0"/>
                      </a:lnTo>
                      <a:lnTo>
                        <a:pt x="1850" y="0"/>
                      </a:lnTo>
                      <a:lnTo>
                        <a:pt x="1832" y="0"/>
                      </a:lnTo>
                      <a:lnTo>
                        <a:pt x="1808" y="4"/>
                      </a:lnTo>
                      <a:lnTo>
                        <a:pt x="1778" y="8"/>
                      </a:lnTo>
                      <a:lnTo>
                        <a:pt x="1742" y="16"/>
                      </a:lnTo>
                      <a:lnTo>
                        <a:pt x="1702" y="28"/>
                      </a:lnTo>
                      <a:lnTo>
                        <a:pt x="1656" y="46"/>
                      </a:lnTo>
                      <a:lnTo>
                        <a:pt x="1606" y="66"/>
                      </a:lnTo>
                      <a:lnTo>
                        <a:pt x="1606" y="66"/>
                      </a:lnTo>
                      <a:lnTo>
                        <a:pt x="1558" y="92"/>
                      </a:lnTo>
                      <a:lnTo>
                        <a:pt x="1510" y="120"/>
                      </a:lnTo>
                      <a:lnTo>
                        <a:pt x="1466" y="152"/>
                      </a:lnTo>
                      <a:lnTo>
                        <a:pt x="1424" y="184"/>
                      </a:lnTo>
                      <a:lnTo>
                        <a:pt x="1382" y="222"/>
                      </a:lnTo>
                      <a:lnTo>
                        <a:pt x="1342" y="260"/>
                      </a:lnTo>
                      <a:lnTo>
                        <a:pt x="1302" y="304"/>
                      </a:lnTo>
                      <a:lnTo>
                        <a:pt x="1264" y="350"/>
                      </a:lnTo>
                      <a:lnTo>
                        <a:pt x="1264" y="350"/>
                      </a:lnTo>
                      <a:lnTo>
                        <a:pt x="1234" y="388"/>
                      </a:lnTo>
                      <a:lnTo>
                        <a:pt x="1204" y="430"/>
                      </a:lnTo>
                      <a:lnTo>
                        <a:pt x="1176" y="472"/>
                      </a:lnTo>
                      <a:lnTo>
                        <a:pt x="1152" y="514"/>
                      </a:lnTo>
                      <a:lnTo>
                        <a:pt x="1110" y="590"/>
                      </a:lnTo>
                      <a:lnTo>
                        <a:pt x="1080" y="646"/>
                      </a:lnTo>
                      <a:lnTo>
                        <a:pt x="1080" y="646"/>
                      </a:lnTo>
                      <a:lnTo>
                        <a:pt x="1074" y="644"/>
                      </a:lnTo>
                      <a:lnTo>
                        <a:pt x="1074" y="644"/>
                      </a:lnTo>
                      <a:lnTo>
                        <a:pt x="1068" y="632"/>
                      </a:lnTo>
                      <a:lnTo>
                        <a:pt x="1060" y="618"/>
                      </a:lnTo>
                      <a:lnTo>
                        <a:pt x="1060" y="618"/>
                      </a:lnTo>
                      <a:lnTo>
                        <a:pt x="1064" y="610"/>
                      </a:lnTo>
                      <a:lnTo>
                        <a:pt x="1066" y="602"/>
                      </a:lnTo>
                      <a:lnTo>
                        <a:pt x="1066" y="602"/>
                      </a:lnTo>
                      <a:lnTo>
                        <a:pt x="1064" y="592"/>
                      </a:lnTo>
                      <a:lnTo>
                        <a:pt x="1060" y="586"/>
                      </a:lnTo>
                      <a:lnTo>
                        <a:pt x="1052" y="580"/>
                      </a:lnTo>
                      <a:lnTo>
                        <a:pt x="1042" y="578"/>
                      </a:lnTo>
                      <a:lnTo>
                        <a:pt x="1042" y="578"/>
                      </a:lnTo>
                      <a:lnTo>
                        <a:pt x="1040" y="580"/>
                      </a:lnTo>
                      <a:lnTo>
                        <a:pt x="1042" y="574"/>
                      </a:lnTo>
                      <a:lnTo>
                        <a:pt x="1036" y="574"/>
                      </a:lnTo>
                      <a:lnTo>
                        <a:pt x="1032" y="574"/>
                      </a:lnTo>
                      <a:lnTo>
                        <a:pt x="1032" y="574"/>
                      </a:lnTo>
                      <a:lnTo>
                        <a:pt x="1024" y="568"/>
                      </a:lnTo>
                      <a:lnTo>
                        <a:pt x="1024" y="568"/>
                      </a:lnTo>
                      <a:lnTo>
                        <a:pt x="1022" y="568"/>
                      </a:lnTo>
                      <a:lnTo>
                        <a:pt x="1018" y="570"/>
                      </a:lnTo>
                      <a:lnTo>
                        <a:pt x="1012" y="570"/>
                      </a:lnTo>
                      <a:lnTo>
                        <a:pt x="1014" y="574"/>
                      </a:lnTo>
                      <a:lnTo>
                        <a:pt x="1008" y="574"/>
                      </a:lnTo>
                      <a:lnTo>
                        <a:pt x="1004" y="574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0" y="578"/>
                      </a:lnTo>
                      <a:lnTo>
                        <a:pt x="1000" y="578"/>
                      </a:lnTo>
                      <a:lnTo>
                        <a:pt x="990" y="580"/>
                      </a:lnTo>
                      <a:lnTo>
                        <a:pt x="982" y="586"/>
                      </a:lnTo>
                      <a:lnTo>
                        <a:pt x="978" y="592"/>
                      </a:lnTo>
                      <a:lnTo>
                        <a:pt x="976" y="602"/>
                      </a:lnTo>
                      <a:lnTo>
                        <a:pt x="976" y="602"/>
                      </a:lnTo>
                      <a:lnTo>
                        <a:pt x="978" y="608"/>
                      </a:lnTo>
                      <a:lnTo>
                        <a:pt x="980" y="616"/>
                      </a:lnTo>
                      <a:lnTo>
                        <a:pt x="980" y="616"/>
                      </a:lnTo>
                      <a:lnTo>
                        <a:pt x="970" y="632"/>
                      </a:lnTo>
                      <a:lnTo>
                        <a:pt x="964" y="644"/>
                      </a:lnTo>
                      <a:lnTo>
                        <a:pt x="964" y="644"/>
                      </a:lnTo>
                      <a:lnTo>
                        <a:pt x="958" y="646"/>
                      </a:lnTo>
                      <a:lnTo>
                        <a:pt x="958" y="646"/>
                      </a:lnTo>
                      <a:lnTo>
                        <a:pt x="928" y="590"/>
                      </a:lnTo>
                      <a:lnTo>
                        <a:pt x="886" y="514"/>
                      </a:lnTo>
                      <a:lnTo>
                        <a:pt x="860" y="472"/>
                      </a:lnTo>
                      <a:lnTo>
                        <a:pt x="834" y="430"/>
                      </a:lnTo>
                      <a:lnTo>
                        <a:pt x="804" y="388"/>
                      </a:lnTo>
                      <a:lnTo>
                        <a:pt x="774" y="350"/>
                      </a:lnTo>
                      <a:lnTo>
                        <a:pt x="774" y="350"/>
                      </a:lnTo>
                      <a:lnTo>
                        <a:pt x="736" y="304"/>
                      </a:lnTo>
                      <a:lnTo>
                        <a:pt x="696" y="260"/>
                      </a:lnTo>
                      <a:lnTo>
                        <a:pt x="656" y="222"/>
                      </a:lnTo>
                      <a:lnTo>
                        <a:pt x="614" y="184"/>
                      </a:lnTo>
                      <a:lnTo>
                        <a:pt x="572" y="152"/>
                      </a:lnTo>
                      <a:lnTo>
                        <a:pt x="528" y="120"/>
                      </a:lnTo>
                      <a:lnTo>
                        <a:pt x="480" y="92"/>
                      </a:lnTo>
                      <a:lnTo>
                        <a:pt x="432" y="66"/>
                      </a:lnTo>
                      <a:lnTo>
                        <a:pt x="432" y="66"/>
                      </a:lnTo>
                      <a:lnTo>
                        <a:pt x="382" y="46"/>
                      </a:lnTo>
                      <a:lnTo>
                        <a:pt x="336" y="28"/>
                      </a:lnTo>
                      <a:lnTo>
                        <a:pt x="296" y="16"/>
                      </a:lnTo>
                      <a:lnTo>
                        <a:pt x="260" y="8"/>
                      </a:lnTo>
                      <a:lnTo>
                        <a:pt x="230" y="4"/>
                      </a:lnTo>
                      <a:lnTo>
                        <a:pt x="206" y="0"/>
                      </a:lnTo>
                      <a:lnTo>
                        <a:pt x="188" y="0"/>
                      </a:lnTo>
                      <a:lnTo>
                        <a:pt x="122" y="2"/>
                      </a:lnTo>
                      <a:lnTo>
                        <a:pt x="60" y="14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4"/>
                      </a:lnTo>
                      <a:lnTo>
                        <a:pt x="10" y="156"/>
                      </a:lnTo>
                      <a:lnTo>
                        <a:pt x="32" y="202"/>
                      </a:lnTo>
                      <a:lnTo>
                        <a:pt x="32" y="202"/>
                      </a:lnTo>
                      <a:lnTo>
                        <a:pt x="42" y="218"/>
                      </a:lnTo>
                      <a:lnTo>
                        <a:pt x="54" y="232"/>
                      </a:lnTo>
                      <a:lnTo>
                        <a:pt x="58" y="236"/>
                      </a:lnTo>
                      <a:lnTo>
                        <a:pt x="64" y="240"/>
                      </a:lnTo>
                      <a:lnTo>
                        <a:pt x="64" y="240"/>
                      </a:lnTo>
                      <a:lnTo>
                        <a:pt x="68" y="242"/>
                      </a:lnTo>
                      <a:lnTo>
                        <a:pt x="72" y="246"/>
                      </a:lnTo>
                      <a:lnTo>
                        <a:pt x="78" y="258"/>
                      </a:lnTo>
                      <a:lnTo>
                        <a:pt x="82" y="272"/>
                      </a:lnTo>
                      <a:lnTo>
                        <a:pt x="82" y="272"/>
                      </a:lnTo>
                      <a:lnTo>
                        <a:pt x="90" y="286"/>
                      </a:lnTo>
                      <a:lnTo>
                        <a:pt x="100" y="298"/>
                      </a:lnTo>
                      <a:lnTo>
                        <a:pt x="108" y="302"/>
                      </a:lnTo>
                      <a:lnTo>
                        <a:pt x="114" y="308"/>
                      </a:lnTo>
                      <a:lnTo>
                        <a:pt x="114" y="308"/>
                      </a:lnTo>
                      <a:lnTo>
                        <a:pt x="122" y="312"/>
                      </a:lnTo>
                      <a:lnTo>
                        <a:pt x="128" y="318"/>
                      </a:lnTo>
                      <a:lnTo>
                        <a:pt x="140" y="332"/>
                      </a:lnTo>
                      <a:lnTo>
                        <a:pt x="150" y="348"/>
                      </a:lnTo>
                      <a:lnTo>
                        <a:pt x="154" y="358"/>
                      </a:lnTo>
                      <a:lnTo>
                        <a:pt x="154" y="358"/>
                      </a:lnTo>
                      <a:lnTo>
                        <a:pt x="156" y="364"/>
                      </a:lnTo>
                      <a:lnTo>
                        <a:pt x="158" y="370"/>
                      </a:lnTo>
                      <a:lnTo>
                        <a:pt x="170" y="384"/>
                      </a:lnTo>
                      <a:lnTo>
                        <a:pt x="186" y="404"/>
                      </a:lnTo>
                      <a:lnTo>
                        <a:pt x="186" y="404"/>
                      </a:lnTo>
                      <a:lnTo>
                        <a:pt x="190" y="428"/>
                      </a:lnTo>
                      <a:lnTo>
                        <a:pt x="192" y="446"/>
                      </a:lnTo>
                      <a:lnTo>
                        <a:pt x="192" y="452"/>
                      </a:lnTo>
                      <a:lnTo>
                        <a:pt x="190" y="458"/>
                      </a:lnTo>
                      <a:lnTo>
                        <a:pt x="190" y="458"/>
                      </a:lnTo>
                      <a:lnTo>
                        <a:pt x="188" y="462"/>
                      </a:lnTo>
                      <a:lnTo>
                        <a:pt x="188" y="466"/>
                      </a:lnTo>
                      <a:lnTo>
                        <a:pt x="194" y="474"/>
                      </a:lnTo>
                      <a:lnTo>
                        <a:pt x="206" y="484"/>
                      </a:lnTo>
                      <a:lnTo>
                        <a:pt x="206" y="484"/>
                      </a:lnTo>
                      <a:lnTo>
                        <a:pt x="210" y="488"/>
                      </a:lnTo>
                      <a:lnTo>
                        <a:pt x="214" y="498"/>
                      </a:lnTo>
                      <a:lnTo>
                        <a:pt x="216" y="506"/>
                      </a:lnTo>
                      <a:lnTo>
                        <a:pt x="218" y="512"/>
                      </a:lnTo>
                      <a:lnTo>
                        <a:pt x="218" y="518"/>
                      </a:lnTo>
                      <a:lnTo>
                        <a:pt x="214" y="526"/>
                      </a:lnTo>
                      <a:lnTo>
                        <a:pt x="214" y="526"/>
                      </a:lnTo>
                      <a:lnTo>
                        <a:pt x="212" y="532"/>
                      </a:lnTo>
                      <a:lnTo>
                        <a:pt x="212" y="542"/>
                      </a:lnTo>
                      <a:lnTo>
                        <a:pt x="214" y="552"/>
                      </a:lnTo>
                      <a:lnTo>
                        <a:pt x="218" y="562"/>
                      </a:lnTo>
                      <a:lnTo>
                        <a:pt x="228" y="580"/>
                      </a:lnTo>
                      <a:lnTo>
                        <a:pt x="232" y="586"/>
                      </a:lnTo>
                      <a:lnTo>
                        <a:pt x="236" y="590"/>
                      </a:lnTo>
                      <a:lnTo>
                        <a:pt x="236" y="590"/>
                      </a:lnTo>
                      <a:lnTo>
                        <a:pt x="238" y="594"/>
                      </a:lnTo>
                      <a:lnTo>
                        <a:pt x="242" y="598"/>
                      </a:lnTo>
                      <a:lnTo>
                        <a:pt x="246" y="612"/>
                      </a:lnTo>
                      <a:lnTo>
                        <a:pt x="250" y="628"/>
                      </a:lnTo>
                      <a:lnTo>
                        <a:pt x="250" y="628"/>
                      </a:lnTo>
                      <a:lnTo>
                        <a:pt x="252" y="632"/>
                      </a:lnTo>
                      <a:lnTo>
                        <a:pt x="254" y="642"/>
                      </a:lnTo>
                      <a:lnTo>
                        <a:pt x="264" y="656"/>
                      </a:lnTo>
                      <a:lnTo>
                        <a:pt x="278" y="678"/>
                      </a:lnTo>
                      <a:lnTo>
                        <a:pt x="278" y="678"/>
                      </a:lnTo>
                      <a:lnTo>
                        <a:pt x="294" y="698"/>
                      </a:lnTo>
                      <a:lnTo>
                        <a:pt x="304" y="712"/>
                      </a:lnTo>
                      <a:lnTo>
                        <a:pt x="316" y="734"/>
                      </a:lnTo>
                      <a:lnTo>
                        <a:pt x="316" y="734"/>
                      </a:lnTo>
                      <a:lnTo>
                        <a:pt x="320" y="740"/>
                      </a:lnTo>
                      <a:lnTo>
                        <a:pt x="326" y="744"/>
                      </a:lnTo>
                      <a:lnTo>
                        <a:pt x="344" y="752"/>
                      </a:lnTo>
                      <a:lnTo>
                        <a:pt x="364" y="760"/>
                      </a:lnTo>
                      <a:lnTo>
                        <a:pt x="414" y="768"/>
                      </a:lnTo>
                      <a:lnTo>
                        <a:pt x="468" y="768"/>
                      </a:lnTo>
                      <a:lnTo>
                        <a:pt x="516" y="768"/>
                      </a:lnTo>
                      <a:lnTo>
                        <a:pt x="584" y="772"/>
                      </a:lnTo>
                      <a:lnTo>
                        <a:pt x="626" y="778"/>
                      </a:lnTo>
                      <a:lnTo>
                        <a:pt x="628" y="780"/>
                      </a:lnTo>
                      <a:lnTo>
                        <a:pt x="628" y="780"/>
                      </a:lnTo>
                      <a:lnTo>
                        <a:pt x="596" y="796"/>
                      </a:lnTo>
                      <a:lnTo>
                        <a:pt x="568" y="814"/>
                      </a:lnTo>
                      <a:lnTo>
                        <a:pt x="542" y="832"/>
                      </a:lnTo>
                      <a:lnTo>
                        <a:pt x="518" y="850"/>
                      </a:lnTo>
                      <a:lnTo>
                        <a:pt x="518" y="850"/>
                      </a:lnTo>
                      <a:lnTo>
                        <a:pt x="472" y="890"/>
                      </a:lnTo>
                      <a:lnTo>
                        <a:pt x="442" y="918"/>
                      </a:lnTo>
                      <a:lnTo>
                        <a:pt x="422" y="938"/>
                      </a:lnTo>
                      <a:lnTo>
                        <a:pt x="414" y="952"/>
                      </a:lnTo>
                      <a:lnTo>
                        <a:pt x="412" y="958"/>
                      </a:lnTo>
                      <a:lnTo>
                        <a:pt x="416" y="962"/>
                      </a:lnTo>
                      <a:lnTo>
                        <a:pt x="418" y="962"/>
                      </a:lnTo>
                      <a:lnTo>
                        <a:pt x="420" y="962"/>
                      </a:lnTo>
                      <a:lnTo>
                        <a:pt x="430" y="996"/>
                      </a:lnTo>
                      <a:lnTo>
                        <a:pt x="430" y="996"/>
                      </a:lnTo>
                      <a:lnTo>
                        <a:pt x="438" y="1020"/>
                      </a:lnTo>
                      <a:lnTo>
                        <a:pt x="446" y="1044"/>
                      </a:lnTo>
                      <a:lnTo>
                        <a:pt x="458" y="1074"/>
                      </a:lnTo>
                      <a:lnTo>
                        <a:pt x="474" y="1102"/>
                      </a:lnTo>
                      <a:lnTo>
                        <a:pt x="490" y="1130"/>
                      </a:lnTo>
                      <a:lnTo>
                        <a:pt x="500" y="1142"/>
                      </a:lnTo>
                      <a:lnTo>
                        <a:pt x="510" y="1152"/>
                      </a:lnTo>
                      <a:lnTo>
                        <a:pt x="520" y="1160"/>
                      </a:lnTo>
                      <a:lnTo>
                        <a:pt x="530" y="1166"/>
                      </a:lnTo>
                      <a:lnTo>
                        <a:pt x="530" y="1166"/>
                      </a:lnTo>
                      <a:lnTo>
                        <a:pt x="548" y="1174"/>
                      </a:lnTo>
                      <a:lnTo>
                        <a:pt x="560" y="1184"/>
                      </a:lnTo>
                      <a:lnTo>
                        <a:pt x="568" y="1194"/>
                      </a:lnTo>
                      <a:lnTo>
                        <a:pt x="572" y="1204"/>
                      </a:lnTo>
                      <a:lnTo>
                        <a:pt x="574" y="1214"/>
                      </a:lnTo>
                      <a:lnTo>
                        <a:pt x="574" y="1222"/>
                      </a:lnTo>
                      <a:lnTo>
                        <a:pt x="574" y="1228"/>
                      </a:lnTo>
                      <a:lnTo>
                        <a:pt x="574" y="1228"/>
                      </a:lnTo>
                      <a:lnTo>
                        <a:pt x="578" y="1236"/>
                      </a:lnTo>
                      <a:lnTo>
                        <a:pt x="588" y="1256"/>
                      </a:lnTo>
                      <a:lnTo>
                        <a:pt x="596" y="1268"/>
                      </a:lnTo>
                      <a:lnTo>
                        <a:pt x="604" y="1278"/>
                      </a:lnTo>
                      <a:lnTo>
                        <a:pt x="616" y="1284"/>
                      </a:lnTo>
                      <a:lnTo>
                        <a:pt x="626" y="1288"/>
                      </a:lnTo>
                      <a:lnTo>
                        <a:pt x="626" y="1288"/>
                      </a:lnTo>
                      <a:lnTo>
                        <a:pt x="632" y="1290"/>
                      </a:lnTo>
                      <a:lnTo>
                        <a:pt x="638" y="1294"/>
                      </a:lnTo>
                      <a:lnTo>
                        <a:pt x="642" y="1300"/>
                      </a:lnTo>
                      <a:lnTo>
                        <a:pt x="646" y="1306"/>
                      </a:lnTo>
                      <a:lnTo>
                        <a:pt x="652" y="1322"/>
                      </a:lnTo>
                      <a:lnTo>
                        <a:pt x="656" y="1340"/>
                      </a:lnTo>
                      <a:lnTo>
                        <a:pt x="660" y="1374"/>
                      </a:lnTo>
                      <a:lnTo>
                        <a:pt x="662" y="1388"/>
                      </a:lnTo>
                      <a:lnTo>
                        <a:pt x="662" y="1388"/>
                      </a:lnTo>
                      <a:lnTo>
                        <a:pt x="662" y="1404"/>
                      </a:lnTo>
                      <a:lnTo>
                        <a:pt x="660" y="1420"/>
                      </a:lnTo>
                      <a:lnTo>
                        <a:pt x="656" y="1442"/>
                      </a:lnTo>
                      <a:lnTo>
                        <a:pt x="650" y="1464"/>
                      </a:lnTo>
                      <a:lnTo>
                        <a:pt x="642" y="1486"/>
                      </a:lnTo>
                      <a:lnTo>
                        <a:pt x="636" y="1498"/>
                      </a:lnTo>
                      <a:lnTo>
                        <a:pt x="630" y="1508"/>
                      </a:lnTo>
                      <a:lnTo>
                        <a:pt x="622" y="1518"/>
                      </a:lnTo>
                      <a:lnTo>
                        <a:pt x="612" y="1528"/>
                      </a:lnTo>
                      <a:lnTo>
                        <a:pt x="612" y="1528"/>
                      </a:lnTo>
                      <a:lnTo>
                        <a:pt x="596" y="1544"/>
                      </a:lnTo>
                      <a:lnTo>
                        <a:pt x="582" y="1558"/>
                      </a:lnTo>
                      <a:lnTo>
                        <a:pt x="562" y="1580"/>
                      </a:lnTo>
                      <a:lnTo>
                        <a:pt x="550" y="1596"/>
                      </a:lnTo>
                      <a:lnTo>
                        <a:pt x="548" y="1602"/>
                      </a:lnTo>
                      <a:lnTo>
                        <a:pt x="548" y="1602"/>
                      </a:lnTo>
                      <a:lnTo>
                        <a:pt x="538" y="1616"/>
                      </a:lnTo>
                      <a:lnTo>
                        <a:pt x="530" y="1632"/>
                      </a:lnTo>
                      <a:lnTo>
                        <a:pt x="522" y="1652"/>
                      </a:lnTo>
                      <a:lnTo>
                        <a:pt x="522" y="1652"/>
                      </a:lnTo>
                      <a:lnTo>
                        <a:pt x="518" y="1676"/>
                      </a:lnTo>
                      <a:lnTo>
                        <a:pt x="516" y="1698"/>
                      </a:lnTo>
                      <a:lnTo>
                        <a:pt x="518" y="1716"/>
                      </a:lnTo>
                      <a:lnTo>
                        <a:pt x="520" y="1724"/>
                      </a:lnTo>
                      <a:lnTo>
                        <a:pt x="522" y="1732"/>
                      </a:lnTo>
                      <a:lnTo>
                        <a:pt x="522" y="1732"/>
                      </a:lnTo>
                      <a:lnTo>
                        <a:pt x="526" y="1736"/>
                      </a:lnTo>
                      <a:lnTo>
                        <a:pt x="532" y="1738"/>
                      </a:lnTo>
                      <a:lnTo>
                        <a:pt x="538" y="1738"/>
                      </a:lnTo>
                      <a:lnTo>
                        <a:pt x="544" y="1738"/>
                      </a:lnTo>
                      <a:lnTo>
                        <a:pt x="554" y="1734"/>
                      </a:lnTo>
                      <a:lnTo>
                        <a:pt x="558" y="1732"/>
                      </a:lnTo>
                      <a:lnTo>
                        <a:pt x="640" y="1640"/>
                      </a:lnTo>
                      <a:lnTo>
                        <a:pt x="636" y="1610"/>
                      </a:lnTo>
                      <a:lnTo>
                        <a:pt x="636" y="1610"/>
                      </a:lnTo>
                      <a:lnTo>
                        <a:pt x="648" y="1598"/>
                      </a:lnTo>
                      <a:lnTo>
                        <a:pt x="658" y="1590"/>
                      </a:lnTo>
                      <a:lnTo>
                        <a:pt x="664" y="1588"/>
                      </a:lnTo>
                      <a:lnTo>
                        <a:pt x="670" y="1586"/>
                      </a:lnTo>
                      <a:lnTo>
                        <a:pt x="670" y="1586"/>
                      </a:lnTo>
                      <a:lnTo>
                        <a:pt x="678" y="1582"/>
                      </a:lnTo>
                      <a:lnTo>
                        <a:pt x="684" y="1578"/>
                      </a:lnTo>
                      <a:lnTo>
                        <a:pt x="698" y="1562"/>
                      </a:lnTo>
                      <a:lnTo>
                        <a:pt x="712" y="1538"/>
                      </a:lnTo>
                      <a:lnTo>
                        <a:pt x="712" y="1538"/>
                      </a:lnTo>
                      <a:lnTo>
                        <a:pt x="732" y="1520"/>
                      </a:lnTo>
                      <a:lnTo>
                        <a:pt x="752" y="1500"/>
                      </a:lnTo>
                      <a:lnTo>
                        <a:pt x="770" y="1476"/>
                      </a:lnTo>
                      <a:lnTo>
                        <a:pt x="770" y="1476"/>
                      </a:lnTo>
                      <a:lnTo>
                        <a:pt x="790" y="1446"/>
                      </a:lnTo>
                      <a:lnTo>
                        <a:pt x="812" y="1410"/>
                      </a:lnTo>
                      <a:lnTo>
                        <a:pt x="830" y="1374"/>
                      </a:lnTo>
                      <a:lnTo>
                        <a:pt x="836" y="1356"/>
                      </a:lnTo>
                      <a:lnTo>
                        <a:pt x="840" y="1342"/>
                      </a:lnTo>
                      <a:lnTo>
                        <a:pt x="840" y="1342"/>
                      </a:lnTo>
                      <a:lnTo>
                        <a:pt x="854" y="1266"/>
                      </a:lnTo>
                      <a:lnTo>
                        <a:pt x="878" y="1136"/>
                      </a:lnTo>
                      <a:lnTo>
                        <a:pt x="890" y="1070"/>
                      </a:lnTo>
                      <a:lnTo>
                        <a:pt x="904" y="1014"/>
                      </a:lnTo>
                      <a:lnTo>
                        <a:pt x="910" y="992"/>
                      </a:lnTo>
                      <a:lnTo>
                        <a:pt x="916" y="974"/>
                      </a:lnTo>
                      <a:lnTo>
                        <a:pt x="922" y="964"/>
                      </a:lnTo>
                      <a:lnTo>
                        <a:pt x="924" y="960"/>
                      </a:lnTo>
                      <a:lnTo>
                        <a:pt x="926" y="960"/>
                      </a:lnTo>
                      <a:lnTo>
                        <a:pt x="926" y="960"/>
                      </a:lnTo>
                      <a:lnTo>
                        <a:pt x="932" y="958"/>
                      </a:lnTo>
                      <a:lnTo>
                        <a:pt x="938" y="954"/>
                      </a:lnTo>
                      <a:lnTo>
                        <a:pt x="950" y="942"/>
                      </a:lnTo>
                      <a:lnTo>
                        <a:pt x="964" y="926"/>
                      </a:lnTo>
                      <a:lnTo>
                        <a:pt x="976" y="908"/>
                      </a:lnTo>
                      <a:lnTo>
                        <a:pt x="968" y="972"/>
                      </a:lnTo>
                      <a:lnTo>
                        <a:pt x="972" y="994"/>
                      </a:lnTo>
                      <a:lnTo>
                        <a:pt x="962" y="1022"/>
                      </a:lnTo>
                      <a:lnTo>
                        <a:pt x="962" y="1068"/>
                      </a:lnTo>
                      <a:lnTo>
                        <a:pt x="962" y="1080"/>
                      </a:lnTo>
                      <a:lnTo>
                        <a:pt x="962" y="1146"/>
                      </a:lnTo>
                      <a:lnTo>
                        <a:pt x="972" y="1150"/>
                      </a:lnTo>
                      <a:lnTo>
                        <a:pt x="972" y="1160"/>
                      </a:lnTo>
                      <a:lnTo>
                        <a:pt x="962" y="1170"/>
                      </a:lnTo>
                      <a:lnTo>
                        <a:pt x="964" y="1202"/>
                      </a:lnTo>
                      <a:lnTo>
                        <a:pt x="964" y="1252"/>
                      </a:lnTo>
                      <a:lnTo>
                        <a:pt x="984" y="1294"/>
                      </a:lnTo>
                      <a:lnTo>
                        <a:pt x="1016" y="1320"/>
                      </a:lnTo>
                      <a:lnTo>
                        <a:pt x="1018" y="1292"/>
                      </a:lnTo>
                      <a:lnTo>
                        <a:pt x="1022" y="1320"/>
                      </a:lnTo>
                      <a:lnTo>
                        <a:pt x="1054" y="1294"/>
                      </a:lnTo>
                      <a:lnTo>
                        <a:pt x="1074" y="1252"/>
                      </a:lnTo>
                      <a:lnTo>
                        <a:pt x="1074" y="1202"/>
                      </a:lnTo>
                      <a:lnTo>
                        <a:pt x="1076" y="1170"/>
                      </a:lnTo>
                      <a:lnTo>
                        <a:pt x="1066" y="1160"/>
                      </a:lnTo>
                      <a:lnTo>
                        <a:pt x="1066" y="1150"/>
                      </a:lnTo>
                      <a:lnTo>
                        <a:pt x="1076" y="1146"/>
                      </a:lnTo>
                      <a:lnTo>
                        <a:pt x="1076" y="1080"/>
                      </a:lnTo>
                      <a:lnTo>
                        <a:pt x="1076" y="1068"/>
                      </a:lnTo>
                      <a:lnTo>
                        <a:pt x="1076" y="1022"/>
                      </a:lnTo>
                      <a:lnTo>
                        <a:pt x="1066" y="994"/>
                      </a:lnTo>
                      <a:lnTo>
                        <a:pt x="1068" y="972"/>
                      </a:lnTo>
                      <a:lnTo>
                        <a:pt x="1062" y="908"/>
                      </a:lnTo>
                      <a:lnTo>
                        <a:pt x="1062" y="908"/>
                      </a:lnTo>
                      <a:lnTo>
                        <a:pt x="1074" y="926"/>
                      </a:lnTo>
                      <a:lnTo>
                        <a:pt x="1088" y="942"/>
                      </a:lnTo>
                      <a:lnTo>
                        <a:pt x="1100" y="954"/>
                      </a:lnTo>
                      <a:lnTo>
                        <a:pt x="1106" y="958"/>
                      </a:lnTo>
                      <a:lnTo>
                        <a:pt x="1112" y="960"/>
                      </a:lnTo>
                      <a:lnTo>
                        <a:pt x="1112" y="960"/>
                      </a:lnTo>
                      <a:lnTo>
                        <a:pt x="1114" y="960"/>
                      </a:lnTo>
                      <a:lnTo>
                        <a:pt x="1116" y="964"/>
                      </a:lnTo>
                      <a:lnTo>
                        <a:pt x="1122" y="974"/>
                      </a:lnTo>
                      <a:lnTo>
                        <a:pt x="1128" y="992"/>
                      </a:lnTo>
                      <a:lnTo>
                        <a:pt x="1134" y="1014"/>
                      </a:lnTo>
                      <a:lnTo>
                        <a:pt x="1148" y="1070"/>
                      </a:lnTo>
                      <a:lnTo>
                        <a:pt x="1160" y="1136"/>
                      </a:lnTo>
                      <a:lnTo>
                        <a:pt x="1184" y="1266"/>
                      </a:lnTo>
                      <a:lnTo>
                        <a:pt x="1198" y="1342"/>
                      </a:lnTo>
                      <a:lnTo>
                        <a:pt x="1198" y="1342"/>
                      </a:lnTo>
                      <a:lnTo>
                        <a:pt x="1202" y="1356"/>
                      </a:lnTo>
                      <a:lnTo>
                        <a:pt x="1208" y="1374"/>
                      </a:lnTo>
                      <a:lnTo>
                        <a:pt x="1226" y="1410"/>
                      </a:lnTo>
                      <a:lnTo>
                        <a:pt x="1248" y="1446"/>
                      </a:lnTo>
                      <a:lnTo>
                        <a:pt x="1268" y="1476"/>
                      </a:lnTo>
                      <a:lnTo>
                        <a:pt x="1268" y="1476"/>
                      </a:lnTo>
                      <a:lnTo>
                        <a:pt x="1286" y="1500"/>
                      </a:lnTo>
                      <a:lnTo>
                        <a:pt x="1304" y="1520"/>
                      </a:lnTo>
                      <a:lnTo>
                        <a:pt x="1326" y="1538"/>
                      </a:lnTo>
                      <a:lnTo>
                        <a:pt x="1326" y="1538"/>
                      </a:lnTo>
                      <a:lnTo>
                        <a:pt x="1340" y="1562"/>
                      </a:lnTo>
                      <a:lnTo>
                        <a:pt x="1354" y="1578"/>
                      </a:lnTo>
                      <a:lnTo>
                        <a:pt x="1360" y="1582"/>
                      </a:lnTo>
                      <a:lnTo>
                        <a:pt x="1366" y="1586"/>
                      </a:lnTo>
                      <a:lnTo>
                        <a:pt x="1366" y="1586"/>
                      </a:lnTo>
                      <a:lnTo>
                        <a:pt x="1374" y="1588"/>
                      </a:lnTo>
                      <a:lnTo>
                        <a:pt x="1380" y="1590"/>
                      </a:lnTo>
                      <a:lnTo>
                        <a:pt x="1390" y="1598"/>
                      </a:lnTo>
                      <a:lnTo>
                        <a:pt x="1402" y="1610"/>
                      </a:lnTo>
                      <a:lnTo>
                        <a:pt x="1398" y="1640"/>
                      </a:lnTo>
                      <a:lnTo>
                        <a:pt x="1480" y="1732"/>
                      </a:lnTo>
                      <a:lnTo>
                        <a:pt x="1480" y="1732"/>
                      </a:lnTo>
                      <a:lnTo>
                        <a:pt x="1484" y="1734"/>
                      </a:lnTo>
                      <a:lnTo>
                        <a:pt x="1494" y="1738"/>
                      </a:lnTo>
                      <a:lnTo>
                        <a:pt x="1500" y="1738"/>
                      </a:lnTo>
                      <a:lnTo>
                        <a:pt x="1506" y="1738"/>
                      </a:lnTo>
                      <a:lnTo>
                        <a:pt x="1512" y="1736"/>
                      </a:lnTo>
                      <a:lnTo>
                        <a:pt x="1516" y="1732"/>
                      </a:lnTo>
                      <a:lnTo>
                        <a:pt x="1516" y="1732"/>
                      </a:lnTo>
                      <a:lnTo>
                        <a:pt x="1518" y="1724"/>
                      </a:lnTo>
                      <a:lnTo>
                        <a:pt x="1520" y="1716"/>
                      </a:lnTo>
                      <a:lnTo>
                        <a:pt x="1522" y="1698"/>
                      </a:lnTo>
                      <a:lnTo>
                        <a:pt x="1520" y="1676"/>
                      </a:lnTo>
                      <a:lnTo>
                        <a:pt x="1516" y="1652"/>
                      </a:lnTo>
                      <a:lnTo>
                        <a:pt x="1516" y="1652"/>
                      </a:lnTo>
                      <a:lnTo>
                        <a:pt x="1508" y="1632"/>
                      </a:lnTo>
                      <a:lnTo>
                        <a:pt x="1500" y="1616"/>
                      </a:lnTo>
                      <a:lnTo>
                        <a:pt x="1490" y="1602"/>
                      </a:lnTo>
                      <a:lnTo>
                        <a:pt x="1490" y="1602"/>
                      </a:lnTo>
                      <a:lnTo>
                        <a:pt x="1486" y="1596"/>
                      </a:lnTo>
                      <a:lnTo>
                        <a:pt x="1476" y="1580"/>
                      </a:lnTo>
                      <a:lnTo>
                        <a:pt x="1456" y="1558"/>
                      </a:lnTo>
                      <a:lnTo>
                        <a:pt x="1442" y="1544"/>
                      </a:lnTo>
                      <a:lnTo>
                        <a:pt x="1424" y="1528"/>
                      </a:lnTo>
                      <a:lnTo>
                        <a:pt x="1424" y="1528"/>
                      </a:lnTo>
                      <a:lnTo>
                        <a:pt x="1416" y="1518"/>
                      </a:lnTo>
                      <a:lnTo>
                        <a:pt x="1408" y="1508"/>
                      </a:lnTo>
                      <a:lnTo>
                        <a:pt x="1402" y="1498"/>
                      </a:lnTo>
                      <a:lnTo>
                        <a:pt x="1396" y="1486"/>
                      </a:lnTo>
                      <a:lnTo>
                        <a:pt x="1386" y="1464"/>
                      </a:lnTo>
                      <a:lnTo>
                        <a:pt x="1382" y="1442"/>
                      </a:lnTo>
                      <a:lnTo>
                        <a:pt x="1378" y="1420"/>
                      </a:lnTo>
                      <a:lnTo>
                        <a:pt x="1376" y="1404"/>
                      </a:lnTo>
                      <a:lnTo>
                        <a:pt x="1376" y="1388"/>
                      </a:lnTo>
                      <a:lnTo>
                        <a:pt x="1376" y="1388"/>
                      </a:lnTo>
                      <a:lnTo>
                        <a:pt x="1378" y="1374"/>
                      </a:lnTo>
                      <a:lnTo>
                        <a:pt x="1382" y="1340"/>
                      </a:lnTo>
                      <a:lnTo>
                        <a:pt x="1386" y="1322"/>
                      </a:lnTo>
                      <a:lnTo>
                        <a:pt x="1392" y="1306"/>
                      </a:lnTo>
                      <a:lnTo>
                        <a:pt x="1396" y="1300"/>
                      </a:lnTo>
                      <a:lnTo>
                        <a:pt x="1400" y="1294"/>
                      </a:lnTo>
                      <a:lnTo>
                        <a:pt x="1406" y="1290"/>
                      </a:lnTo>
                      <a:lnTo>
                        <a:pt x="1410" y="1288"/>
                      </a:lnTo>
                      <a:lnTo>
                        <a:pt x="1410" y="1288"/>
                      </a:lnTo>
                      <a:lnTo>
                        <a:pt x="1422" y="1284"/>
                      </a:lnTo>
                      <a:lnTo>
                        <a:pt x="1432" y="1278"/>
                      </a:lnTo>
                      <a:lnTo>
                        <a:pt x="1442" y="1268"/>
                      </a:lnTo>
                      <a:lnTo>
                        <a:pt x="1450" y="1256"/>
                      </a:lnTo>
                      <a:lnTo>
                        <a:pt x="1460" y="1236"/>
                      </a:lnTo>
                      <a:lnTo>
                        <a:pt x="1464" y="1228"/>
                      </a:lnTo>
                      <a:lnTo>
                        <a:pt x="1464" y="1228"/>
                      </a:lnTo>
                      <a:lnTo>
                        <a:pt x="1464" y="1222"/>
                      </a:lnTo>
                      <a:lnTo>
                        <a:pt x="1464" y="1214"/>
                      </a:lnTo>
                      <a:lnTo>
                        <a:pt x="1466" y="1204"/>
                      </a:lnTo>
                      <a:lnTo>
                        <a:pt x="1470" y="1194"/>
                      </a:lnTo>
                      <a:lnTo>
                        <a:pt x="1478" y="1184"/>
                      </a:lnTo>
                      <a:lnTo>
                        <a:pt x="1490" y="1174"/>
                      </a:lnTo>
                      <a:lnTo>
                        <a:pt x="1508" y="1166"/>
                      </a:lnTo>
                      <a:lnTo>
                        <a:pt x="1508" y="1166"/>
                      </a:lnTo>
                      <a:lnTo>
                        <a:pt x="1518" y="1160"/>
                      </a:lnTo>
                      <a:lnTo>
                        <a:pt x="1528" y="1152"/>
                      </a:lnTo>
                      <a:lnTo>
                        <a:pt x="1538" y="1142"/>
                      </a:lnTo>
                      <a:lnTo>
                        <a:pt x="1548" y="1130"/>
                      </a:lnTo>
                      <a:lnTo>
                        <a:pt x="1564" y="1102"/>
                      </a:lnTo>
                      <a:lnTo>
                        <a:pt x="1580" y="1074"/>
                      </a:lnTo>
                      <a:lnTo>
                        <a:pt x="1592" y="1044"/>
                      </a:lnTo>
                      <a:lnTo>
                        <a:pt x="1600" y="1020"/>
                      </a:lnTo>
                      <a:lnTo>
                        <a:pt x="1608" y="996"/>
                      </a:lnTo>
                      <a:lnTo>
                        <a:pt x="1618" y="962"/>
                      </a:lnTo>
                      <a:lnTo>
                        <a:pt x="1618" y="962"/>
                      </a:lnTo>
                      <a:lnTo>
                        <a:pt x="1620" y="962"/>
                      </a:lnTo>
                      <a:lnTo>
                        <a:pt x="1622" y="962"/>
                      </a:lnTo>
                      <a:lnTo>
                        <a:pt x="1626" y="958"/>
                      </a:lnTo>
                      <a:lnTo>
                        <a:pt x="1624" y="952"/>
                      </a:lnTo>
                      <a:lnTo>
                        <a:pt x="1614" y="938"/>
                      </a:lnTo>
                      <a:lnTo>
                        <a:pt x="1596" y="918"/>
                      </a:lnTo>
                      <a:lnTo>
                        <a:pt x="1566" y="890"/>
                      </a:lnTo>
                      <a:lnTo>
                        <a:pt x="1520" y="850"/>
                      </a:lnTo>
                      <a:lnTo>
                        <a:pt x="1520" y="850"/>
                      </a:lnTo>
                      <a:lnTo>
                        <a:pt x="1496" y="832"/>
                      </a:lnTo>
                      <a:lnTo>
                        <a:pt x="1470" y="814"/>
                      </a:lnTo>
                      <a:lnTo>
                        <a:pt x="1440" y="796"/>
                      </a:lnTo>
                      <a:lnTo>
                        <a:pt x="1410" y="780"/>
                      </a:lnTo>
                      <a:lnTo>
                        <a:pt x="1412" y="778"/>
                      </a:lnTo>
                      <a:lnTo>
                        <a:pt x="1454" y="772"/>
                      </a:lnTo>
                      <a:lnTo>
                        <a:pt x="1522" y="768"/>
                      </a:lnTo>
                      <a:lnTo>
                        <a:pt x="1570" y="768"/>
                      </a:lnTo>
                      <a:lnTo>
                        <a:pt x="1624" y="768"/>
                      </a:lnTo>
                      <a:lnTo>
                        <a:pt x="1674" y="760"/>
                      </a:lnTo>
                      <a:lnTo>
                        <a:pt x="1674" y="760"/>
                      </a:lnTo>
                      <a:lnTo>
                        <a:pt x="1694" y="752"/>
                      </a:lnTo>
                      <a:lnTo>
                        <a:pt x="1710" y="744"/>
                      </a:lnTo>
                      <a:lnTo>
                        <a:pt x="1718" y="740"/>
                      </a:lnTo>
                      <a:lnTo>
                        <a:pt x="1722" y="734"/>
                      </a:lnTo>
                      <a:lnTo>
                        <a:pt x="1722" y="734"/>
                      </a:lnTo>
                      <a:lnTo>
                        <a:pt x="1734" y="712"/>
                      </a:lnTo>
                      <a:lnTo>
                        <a:pt x="1744" y="698"/>
                      </a:lnTo>
                      <a:lnTo>
                        <a:pt x="1760" y="678"/>
                      </a:lnTo>
                      <a:lnTo>
                        <a:pt x="1760" y="678"/>
                      </a:lnTo>
                      <a:lnTo>
                        <a:pt x="1774" y="656"/>
                      </a:lnTo>
                      <a:lnTo>
                        <a:pt x="1782" y="642"/>
                      </a:lnTo>
                      <a:lnTo>
                        <a:pt x="1786" y="632"/>
                      </a:lnTo>
                      <a:lnTo>
                        <a:pt x="1788" y="628"/>
                      </a:lnTo>
                      <a:lnTo>
                        <a:pt x="1788" y="628"/>
                      </a:lnTo>
                      <a:lnTo>
                        <a:pt x="1792" y="612"/>
                      </a:lnTo>
                      <a:lnTo>
                        <a:pt x="1796" y="598"/>
                      </a:lnTo>
                      <a:lnTo>
                        <a:pt x="1798" y="594"/>
                      </a:lnTo>
                      <a:lnTo>
                        <a:pt x="1802" y="590"/>
                      </a:lnTo>
                      <a:lnTo>
                        <a:pt x="1802" y="590"/>
                      </a:lnTo>
                      <a:lnTo>
                        <a:pt x="1806" y="586"/>
                      </a:lnTo>
                      <a:lnTo>
                        <a:pt x="1810" y="580"/>
                      </a:lnTo>
                      <a:lnTo>
                        <a:pt x="1820" y="562"/>
                      </a:lnTo>
                      <a:lnTo>
                        <a:pt x="1824" y="552"/>
                      </a:lnTo>
                      <a:lnTo>
                        <a:pt x="1826" y="542"/>
                      </a:lnTo>
                      <a:lnTo>
                        <a:pt x="1826" y="532"/>
                      </a:lnTo>
                      <a:lnTo>
                        <a:pt x="1822" y="526"/>
                      </a:lnTo>
                      <a:lnTo>
                        <a:pt x="1822" y="526"/>
                      </a:lnTo>
                      <a:lnTo>
                        <a:pt x="1820" y="518"/>
                      </a:lnTo>
                      <a:lnTo>
                        <a:pt x="1820" y="512"/>
                      </a:lnTo>
                      <a:lnTo>
                        <a:pt x="1820" y="506"/>
                      </a:lnTo>
                      <a:lnTo>
                        <a:pt x="1824" y="498"/>
                      </a:lnTo>
                      <a:lnTo>
                        <a:pt x="1828" y="488"/>
                      </a:lnTo>
                      <a:lnTo>
                        <a:pt x="1832" y="484"/>
                      </a:lnTo>
                      <a:lnTo>
                        <a:pt x="1832" y="484"/>
                      </a:lnTo>
                      <a:lnTo>
                        <a:pt x="1842" y="474"/>
                      </a:lnTo>
                      <a:lnTo>
                        <a:pt x="1850" y="466"/>
                      </a:lnTo>
                      <a:lnTo>
                        <a:pt x="1850" y="462"/>
                      </a:lnTo>
                      <a:lnTo>
                        <a:pt x="1848" y="458"/>
                      </a:lnTo>
                      <a:lnTo>
                        <a:pt x="1848" y="458"/>
                      </a:lnTo>
                      <a:lnTo>
                        <a:pt x="1846" y="452"/>
                      </a:lnTo>
                      <a:lnTo>
                        <a:pt x="1846" y="446"/>
                      </a:lnTo>
                      <a:lnTo>
                        <a:pt x="1848" y="428"/>
                      </a:lnTo>
                      <a:lnTo>
                        <a:pt x="1852" y="404"/>
                      </a:lnTo>
                      <a:lnTo>
                        <a:pt x="1852" y="404"/>
                      </a:lnTo>
                      <a:lnTo>
                        <a:pt x="1868" y="384"/>
                      </a:lnTo>
                      <a:lnTo>
                        <a:pt x="1880" y="370"/>
                      </a:lnTo>
                      <a:lnTo>
                        <a:pt x="1882" y="364"/>
                      </a:lnTo>
                      <a:lnTo>
                        <a:pt x="1884" y="358"/>
                      </a:lnTo>
                      <a:lnTo>
                        <a:pt x="1884" y="358"/>
                      </a:lnTo>
                      <a:lnTo>
                        <a:pt x="1888" y="348"/>
                      </a:lnTo>
                      <a:lnTo>
                        <a:pt x="1896" y="332"/>
                      </a:lnTo>
                      <a:lnTo>
                        <a:pt x="1910" y="318"/>
                      </a:lnTo>
                      <a:lnTo>
                        <a:pt x="1916" y="312"/>
                      </a:lnTo>
                      <a:lnTo>
                        <a:pt x="1924" y="308"/>
                      </a:lnTo>
                      <a:lnTo>
                        <a:pt x="1924" y="308"/>
                      </a:lnTo>
                      <a:lnTo>
                        <a:pt x="1930" y="302"/>
                      </a:lnTo>
                      <a:lnTo>
                        <a:pt x="1936" y="298"/>
                      </a:lnTo>
                      <a:lnTo>
                        <a:pt x="1946" y="286"/>
                      </a:lnTo>
                      <a:lnTo>
                        <a:pt x="1956" y="272"/>
                      </a:lnTo>
                      <a:lnTo>
                        <a:pt x="1956" y="272"/>
                      </a:lnTo>
                      <a:lnTo>
                        <a:pt x="1960" y="258"/>
                      </a:lnTo>
                      <a:lnTo>
                        <a:pt x="1966" y="246"/>
                      </a:lnTo>
                      <a:lnTo>
                        <a:pt x="1970" y="242"/>
                      </a:lnTo>
                      <a:lnTo>
                        <a:pt x="1974" y="240"/>
                      </a:lnTo>
                      <a:lnTo>
                        <a:pt x="1974" y="240"/>
                      </a:lnTo>
                      <a:lnTo>
                        <a:pt x="1980" y="236"/>
                      </a:lnTo>
                      <a:lnTo>
                        <a:pt x="1984" y="232"/>
                      </a:lnTo>
                      <a:lnTo>
                        <a:pt x="1994" y="218"/>
                      </a:lnTo>
                      <a:lnTo>
                        <a:pt x="2006" y="202"/>
                      </a:lnTo>
                      <a:lnTo>
                        <a:pt x="2028" y="156"/>
                      </a:lnTo>
                      <a:lnTo>
                        <a:pt x="2038" y="114"/>
                      </a:lnTo>
                      <a:lnTo>
                        <a:pt x="2036" y="78"/>
                      </a:lnTo>
                      <a:close/>
                      <a:moveTo>
                        <a:pt x="1014" y="582"/>
                      </a:moveTo>
                      <a:lnTo>
                        <a:pt x="1014" y="584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>
                  <a:glow rad="38100">
                    <a:schemeClr val="bg2">
                      <a:lumMod val="60000"/>
                      <a:lumOff val="40000"/>
                      <a:alpha val="19000"/>
                    </a:schemeClr>
                  </a:glow>
                  <a:softEdge rad="127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213" name="Freeform 73"/>
              <p:cNvSpPr>
                <a:spLocks/>
              </p:cNvSpPr>
              <p:nvPr/>
            </p:nvSpPr>
            <p:spPr bwMode="auto">
              <a:xfrm rot="1542474">
                <a:off x="7058065" y="3702660"/>
                <a:ext cx="879" cy="175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  <a:alpha val="8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2" name="Group 63"/>
              <p:cNvGrpSpPr>
                <a:grpSpLocks noChangeAspect="1"/>
              </p:cNvGrpSpPr>
              <p:nvPr/>
            </p:nvGrpSpPr>
            <p:grpSpPr>
              <a:xfrm rot="1645451">
                <a:off x="8050341" y="4268987"/>
                <a:ext cx="917115" cy="1118301"/>
                <a:chOff x="507386" y="-1244242"/>
                <a:chExt cx="2720979" cy="3317871"/>
              </a:xfrm>
              <a:solidFill>
                <a:schemeClr val="bg2">
                  <a:lumMod val="60000"/>
                  <a:lumOff val="40000"/>
                  <a:alpha val="8000"/>
                </a:schemeClr>
              </a:solidFill>
            </p:grpSpPr>
            <p:sp>
              <p:nvSpPr>
                <p:cNvPr id="208" name="Freeform 79"/>
                <p:cNvSpPr>
                  <a:spLocks/>
                </p:cNvSpPr>
                <p:nvPr/>
              </p:nvSpPr>
              <p:spPr bwMode="auto">
                <a:xfrm>
                  <a:off x="1660525" y="654050"/>
                  <a:ext cx="368300" cy="546100"/>
                </a:xfrm>
                <a:custGeom>
                  <a:avLst/>
                  <a:gdLst/>
                  <a:ahLst/>
                  <a:cxnLst>
                    <a:cxn ang="0">
                      <a:pos x="230" y="344"/>
                    </a:cxn>
                    <a:cxn ang="0">
                      <a:pos x="230" y="344"/>
                    </a:cxn>
                    <a:cxn ang="0">
                      <a:pos x="232" y="344"/>
                    </a:cxn>
                    <a:cxn ang="0">
                      <a:pos x="232" y="342"/>
                    </a:cxn>
                    <a:cxn ang="0">
                      <a:pos x="232" y="342"/>
                    </a:cxn>
                    <a:cxn ang="0">
                      <a:pos x="224" y="328"/>
                    </a:cxn>
                    <a:cxn ang="0">
                      <a:pos x="48" y="50"/>
                    </a:cxn>
                    <a:cxn ang="0">
                      <a:pos x="48" y="50"/>
                    </a:cxn>
                    <a:cxn ang="0">
                      <a:pos x="30" y="24"/>
                    </a:cxn>
                    <a:cxn ang="0">
                      <a:pos x="30" y="24"/>
                    </a:cxn>
                    <a:cxn ang="0">
                      <a:pos x="22" y="12"/>
                    </a:cxn>
                    <a:cxn ang="0">
                      <a:pos x="10" y="2"/>
                    </a:cxn>
                    <a:cxn ang="0">
                      <a:pos x="10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0" y="4"/>
                    </a:cxn>
                    <a:cxn ang="0">
                      <a:pos x="4" y="14"/>
                    </a:cxn>
                    <a:cxn ang="0">
                      <a:pos x="10" y="22"/>
                    </a:cxn>
                    <a:cxn ang="0">
                      <a:pos x="10" y="22"/>
                    </a:cxn>
                    <a:cxn ang="0">
                      <a:pos x="18" y="30"/>
                    </a:cxn>
                    <a:cxn ang="0">
                      <a:pos x="26" y="42"/>
                    </a:cxn>
                    <a:cxn ang="0">
                      <a:pos x="218" y="332"/>
                    </a:cxn>
                    <a:cxn ang="0">
                      <a:pos x="218" y="332"/>
                    </a:cxn>
                    <a:cxn ang="0">
                      <a:pos x="226" y="340"/>
                    </a:cxn>
                    <a:cxn ang="0">
                      <a:pos x="230" y="344"/>
                    </a:cxn>
                    <a:cxn ang="0">
                      <a:pos x="230" y="344"/>
                    </a:cxn>
                  </a:cxnLst>
                  <a:rect l="0" t="0" r="r" b="b"/>
                  <a:pathLst>
                    <a:path w="232" h="344">
                      <a:moveTo>
                        <a:pt x="230" y="344"/>
                      </a:moveTo>
                      <a:lnTo>
                        <a:pt x="230" y="344"/>
                      </a:lnTo>
                      <a:lnTo>
                        <a:pt x="232" y="344"/>
                      </a:lnTo>
                      <a:lnTo>
                        <a:pt x="232" y="342"/>
                      </a:lnTo>
                      <a:lnTo>
                        <a:pt x="232" y="342"/>
                      </a:lnTo>
                      <a:lnTo>
                        <a:pt x="224" y="328"/>
                      </a:lnTo>
                      <a:lnTo>
                        <a:pt x="48" y="50"/>
                      </a:lnTo>
                      <a:lnTo>
                        <a:pt x="48" y="50"/>
                      </a:lnTo>
                      <a:lnTo>
                        <a:pt x="30" y="24"/>
                      </a:lnTo>
                      <a:lnTo>
                        <a:pt x="30" y="24"/>
                      </a:lnTo>
                      <a:lnTo>
                        <a:pt x="22" y="1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14"/>
                      </a:lnTo>
                      <a:lnTo>
                        <a:pt x="10" y="22"/>
                      </a:lnTo>
                      <a:lnTo>
                        <a:pt x="10" y="22"/>
                      </a:lnTo>
                      <a:lnTo>
                        <a:pt x="18" y="30"/>
                      </a:lnTo>
                      <a:lnTo>
                        <a:pt x="26" y="42"/>
                      </a:lnTo>
                      <a:lnTo>
                        <a:pt x="218" y="332"/>
                      </a:lnTo>
                      <a:lnTo>
                        <a:pt x="218" y="332"/>
                      </a:lnTo>
                      <a:lnTo>
                        <a:pt x="226" y="340"/>
                      </a:lnTo>
                      <a:lnTo>
                        <a:pt x="230" y="344"/>
                      </a:lnTo>
                      <a:lnTo>
                        <a:pt x="230" y="3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9" name="Freeform 80"/>
                <p:cNvSpPr>
                  <a:spLocks/>
                </p:cNvSpPr>
                <p:nvPr/>
              </p:nvSpPr>
              <p:spPr bwMode="auto">
                <a:xfrm>
                  <a:off x="2032000" y="1216025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0" name="Freeform 81"/>
                <p:cNvSpPr>
                  <a:spLocks/>
                </p:cNvSpPr>
                <p:nvPr/>
              </p:nvSpPr>
              <p:spPr bwMode="auto">
                <a:xfrm>
                  <a:off x="2057401" y="654050"/>
                  <a:ext cx="368300" cy="546100"/>
                </a:xfrm>
                <a:custGeom>
                  <a:avLst/>
                  <a:gdLst/>
                  <a:ahLst/>
                  <a:cxnLst>
                    <a:cxn ang="0">
                      <a:pos x="2" y="344"/>
                    </a:cxn>
                    <a:cxn ang="0">
                      <a:pos x="2" y="344"/>
                    </a:cxn>
                    <a:cxn ang="0">
                      <a:pos x="6" y="340"/>
                    </a:cxn>
                    <a:cxn ang="0">
                      <a:pos x="14" y="332"/>
                    </a:cxn>
                    <a:cxn ang="0">
                      <a:pos x="206" y="42"/>
                    </a:cxn>
                    <a:cxn ang="0">
                      <a:pos x="206" y="42"/>
                    </a:cxn>
                    <a:cxn ang="0">
                      <a:pos x="214" y="30"/>
                    </a:cxn>
                    <a:cxn ang="0">
                      <a:pos x="222" y="22"/>
                    </a:cxn>
                    <a:cxn ang="0">
                      <a:pos x="222" y="22"/>
                    </a:cxn>
                    <a:cxn ang="0">
                      <a:pos x="228" y="14"/>
                    </a:cxn>
                    <a:cxn ang="0">
                      <a:pos x="232" y="4"/>
                    </a:cxn>
                    <a:cxn ang="0">
                      <a:pos x="232" y="4"/>
                    </a:cxn>
                    <a:cxn ang="0">
                      <a:pos x="232" y="0"/>
                    </a:cxn>
                    <a:cxn ang="0">
                      <a:pos x="230" y="0"/>
                    </a:cxn>
                    <a:cxn ang="0">
                      <a:pos x="226" y="0"/>
                    </a:cxn>
                    <a:cxn ang="0">
                      <a:pos x="222" y="2"/>
                    </a:cxn>
                    <a:cxn ang="0">
                      <a:pos x="222" y="2"/>
                    </a:cxn>
                    <a:cxn ang="0">
                      <a:pos x="210" y="12"/>
                    </a:cxn>
                    <a:cxn ang="0">
                      <a:pos x="202" y="24"/>
                    </a:cxn>
                    <a:cxn ang="0">
                      <a:pos x="202" y="24"/>
                    </a:cxn>
                    <a:cxn ang="0">
                      <a:pos x="184" y="50"/>
                    </a:cxn>
                    <a:cxn ang="0">
                      <a:pos x="8" y="328"/>
                    </a:cxn>
                    <a:cxn ang="0">
                      <a:pos x="8" y="328"/>
                    </a:cxn>
                    <a:cxn ang="0">
                      <a:pos x="0" y="342"/>
                    </a:cxn>
                    <a:cxn ang="0">
                      <a:pos x="0" y="342"/>
                    </a:cxn>
                    <a:cxn ang="0">
                      <a:pos x="0" y="344"/>
                    </a:cxn>
                    <a:cxn ang="0">
                      <a:pos x="0" y="344"/>
                    </a:cxn>
                    <a:cxn ang="0">
                      <a:pos x="2" y="344"/>
                    </a:cxn>
                    <a:cxn ang="0">
                      <a:pos x="2" y="344"/>
                    </a:cxn>
                  </a:cxnLst>
                  <a:rect l="0" t="0" r="r" b="b"/>
                  <a:pathLst>
                    <a:path w="232" h="344">
                      <a:moveTo>
                        <a:pt x="2" y="344"/>
                      </a:moveTo>
                      <a:lnTo>
                        <a:pt x="2" y="344"/>
                      </a:lnTo>
                      <a:lnTo>
                        <a:pt x="6" y="340"/>
                      </a:lnTo>
                      <a:lnTo>
                        <a:pt x="14" y="332"/>
                      </a:lnTo>
                      <a:lnTo>
                        <a:pt x="206" y="42"/>
                      </a:lnTo>
                      <a:lnTo>
                        <a:pt x="206" y="42"/>
                      </a:lnTo>
                      <a:lnTo>
                        <a:pt x="214" y="30"/>
                      </a:lnTo>
                      <a:lnTo>
                        <a:pt x="222" y="22"/>
                      </a:lnTo>
                      <a:lnTo>
                        <a:pt x="222" y="22"/>
                      </a:lnTo>
                      <a:lnTo>
                        <a:pt x="228" y="14"/>
                      </a:lnTo>
                      <a:lnTo>
                        <a:pt x="232" y="4"/>
                      </a:lnTo>
                      <a:lnTo>
                        <a:pt x="232" y="4"/>
                      </a:lnTo>
                      <a:lnTo>
                        <a:pt x="232" y="0"/>
                      </a:lnTo>
                      <a:lnTo>
                        <a:pt x="230" y="0"/>
                      </a:lnTo>
                      <a:lnTo>
                        <a:pt x="226" y="0"/>
                      </a:lnTo>
                      <a:lnTo>
                        <a:pt x="222" y="2"/>
                      </a:lnTo>
                      <a:lnTo>
                        <a:pt x="222" y="2"/>
                      </a:lnTo>
                      <a:lnTo>
                        <a:pt x="210" y="12"/>
                      </a:lnTo>
                      <a:lnTo>
                        <a:pt x="202" y="24"/>
                      </a:lnTo>
                      <a:lnTo>
                        <a:pt x="202" y="24"/>
                      </a:lnTo>
                      <a:lnTo>
                        <a:pt x="184" y="50"/>
                      </a:lnTo>
                      <a:lnTo>
                        <a:pt x="8" y="328"/>
                      </a:lnTo>
                      <a:lnTo>
                        <a:pt x="8" y="328"/>
                      </a:lnTo>
                      <a:lnTo>
                        <a:pt x="0" y="342"/>
                      </a:lnTo>
                      <a:lnTo>
                        <a:pt x="0" y="342"/>
                      </a:lnTo>
                      <a:lnTo>
                        <a:pt x="0" y="344"/>
                      </a:lnTo>
                      <a:lnTo>
                        <a:pt x="0" y="344"/>
                      </a:lnTo>
                      <a:lnTo>
                        <a:pt x="2" y="344"/>
                      </a:lnTo>
                      <a:lnTo>
                        <a:pt x="2" y="34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1" name="Freeform 82"/>
                <p:cNvSpPr>
                  <a:spLocks noEditPoints="1"/>
                </p:cNvSpPr>
                <p:nvPr/>
              </p:nvSpPr>
              <p:spPr bwMode="auto">
                <a:xfrm rot="18845760">
                  <a:off x="208940" y="-945796"/>
                  <a:ext cx="3317871" cy="2720979"/>
                </a:xfrm>
                <a:custGeom>
                  <a:avLst/>
                  <a:gdLst/>
                  <a:ahLst/>
                  <a:cxnLst>
                    <a:cxn ang="0">
                      <a:pos x="1784" y="18"/>
                    </a:cxn>
                    <a:cxn ang="0">
                      <a:pos x="1368" y="254"/>
                    </a:cxn>
                    <a:cxn ang="0">
                      <a:pos x="1096" y="632"/>
                    </a:cxn>
                    <a:cxn ang="0">
                      <a:pos x="1066" y="570"/>
                    </a:cxn>
                    <a:cxn ang="0">
                      <a:pos x="1044" y="562"/>
                    </a:cxn>
                    <a:cxn ang="0">
                      <a:pos x="1016" y="572"/>
                    </a:cxn>
                    <a:cxn ang="0">
                      <a:pos x="992" y="628"/>
                    </a:cxn>
                    <a:cxn ang="0">
                      <a:pos x="680" y="216"/>
                    </a:cxn>
                    <a:cxn ang="0">
                      <a:pos x="268" y="10"/>
                    </a:cxn>
                    <a:cxn ang="0">
                      <a:pos x="34" y="198"/>
                    </a:cxn>
                    <a:cxn ang="0">
                      <a:pos x="86" y="264"/>
                    </a:cxn>
                    <a:cxn ang="0">
                      <a:pos x="156" y="340"/>
                    </a:cxn>
                    <a:cxn ang="0">
                      <a:pos x="198" y="442"/>
                    </a:cxn>
                    <a:cxn ang="0">
                      <a:pos x="224" y="492"/>
                    </a:cxn>
                    <a:cxn ang="0">
                      <a:pos x="240" y="572"/>
                    </a:cxn>
                    <a:cxn ang="0">
                      <a:pos x="272" y="640"/>
                    </a:cxn>
                    <a:cxn ang="0">
                      <a:pos x="378" y="740"/>
                    </a:cxn>
                    <a:cxn ang="0">
                      <a:pos x="470" y="858"/>
                    </a:cxn>
                    <a:cxn ang="0">
                      <a:pos x="342" y="1124"/>
                    </a:cxn>
                    <a:cxn ang="0">
                      <a:pos x="376" y="1176"/>
                    </a:cxn>
                    <a:cxn ang="0">
                      <a:pos x="406" y="1268"/>
                    </a:cxn>
                    <a:cxn ang="0">
                      <a:pos x="458" y="1316"/>
                    </a:cxn>
                    <a:cxn ang="0">
                      <a:pos x="502" y="1380"/>
                    </a:cxn>
                    <a:cxn ang="0">
                      <a:pos x="536" y="1422"/>
                    </a:cxn>
                    <a:cxn ang="0">
                      <a:pos x="460" y="1554"/>
                    </a:cxn>
                    <a:cxn ang="0">
                      <a:pos x="414" y="1686"/>
                    </a:cxn>
                    <a:cxn ang="0">
                      <a:pos x="486" y="1704"/>
                    </a:cxn>
                    <a:cxn ang="0">
                      <a:pos x="586" y="1526"/>
                    </a:cxn>
                    <a:cxn ang="0">
                      <a:pos x="662" y="1528"/>
                    </a:cxn>
                    <a:cxn ang="0">
                      <a:pos x="700" y="1528"/>
                    </a:cxn>
                    <a:cxn ang="0">
                      <a:pos x="768" y="1532"/>
                    </a:cxn>
                    <a:cxn ang="0">
                      <a:pos x="816" y="1452"/>
                    </a:cxn>
                    <a:cxn ang="0">
                      <a:pos x="978" y="928"/>
                    </a:cxn>
                    <a:cxn ang="0">
                      <a:pos x="996" y="942"/>
                    </a:cxn>
                    <a:cxn ang="0">
                      <a:pos x="992" y="1208"/>
                    </a:cxn>
                    <a:cxn ang="0">
                      <a:pos x="1088" y="1112"/>
                    </a:cxn>
                    <a:cxn ang="0">
                      <a:pos x="1088" y="854"/>
                    </a:cxn>
                    <a:cxn ang="0">
                      <a:pos x="1138" y="1056"/>
                    </a:cxn>
                    <a:cxn ang="0">
                      <a:pos x="1284" y="1500"/>
                    </a:cxn>
                    <a:cxn ang="0">
                      <a:pos x="1334" y="1528"/>
                    </a:cxn>
                    <a:cxn ang="0">
                      <a:pos x="1406" y="1536"/>
                    </a:cxn>
                    <a:cxn ang="0">
                      <a:pos x="1458" y="1516"/>
                    </a:cxn>
                    <a:cxn ang="0">
                      <a:pos x="1542" y="1592"/>
                    </a:cxn>
                    <a:cxn ang="0">
                      <a:pos x="1626" y="1714"/>
                    </a:cxn>
                    <a:cxn ang="0">
                      <a:pos x="1680" y="1650"/>
                    </a:cxn>
                    <a:cxn ang="0">
                      <a:pos x="1618" y="1546"/>
                    </a:cxn>
                    <a:cxn ang="0">
                      <a:pos x="1560" y="1404"/>
                    </a:cxn>
                    <a:cxn ang="0">
                      <a:pos x="1616" y="1378"/>
                    </a:cxn>
                    <a:cxn ang="0">
                      <a:pos x="1634" y="1294"/>
                    </a:cxn>
                    <a:cxn ang="0">
                      <a:pos x="1706" y="1248"/>
                    </a:cxn>
                    <a:cxn ang="0">
                      <a:pos x="1726" y="1166"/>
                    </a:cxn>
                    <a:cxn ang="0">
                      <a:pos x="1702" y="1004"/>
                    </a:cxn>
                    <a:cxn ang="0">
                      <a:pos x="1528" y="790"/>
                    </a:cxn>
                    <a:cxn ang="0">
                      <a:pos x="1758" y="718"/>
                    </a:cxn>
                    <a:cxn ang="0">
                      <a:pos x="1830" y="612"/>
                    </a:cxn>
                    <a:cxn ang="0">
                      <a:pos x="1868" y="536"/>
                    </a:cxn>
                    <a:cxn ang="0">
                      <a:pos x="1876" y="472"/>
                    </a:cxn>
                    <a:cxn ang="0">
                      <a:pos x="1898" y="394"/>
                    </a:cxn>
                    <a:cxn ang="0">
                      <a:pos x="1964" y="304"/>
                    </a:cxn>
                    <a:cxn ang="0">
                      <a:pos x="2020" y="236"/>
                    </a:cxn>
                    <a:cxn ang="0">
                      <a:pos x="1040" y="574"/>
                    </a:cxn>
                  </a:cxnLst>
                  <a:rect l="0" t="0" r="r" b="b"/>
                  <a:pathLst>
                    <a:path w="2090" h="1714">
                      <a:moveTo>
                        <a:pt x="2088" y="78"/>
                      </a:moveTo>
                      <a:lnTo>
                        <a:pt x="2070" y="44"/>
                      </a:lnTo>
                      <a:lnTo>
                        <a:pt x="2028" y="16"/>
                      </a:lnTo>
                      <a:lnTo>
                        <a:pt x="1964" y="4"/>
                      </a:lnTo>
                      <a:lnTo>
                        <a:pt x="1896" y="0"/>
                      </a:lnTo>
                      <a:lnTo>
                        <a:pt x="1896" y="0"/>
                      </a:lnTo>
                      <a:lnTo>
                        <a:pt x="1876" y="2"/>
                      </a:lnTo>
                      <a:lnTo>
                        <a:pt x="1852" y="4"/>
                      </a:lnTo>
                      <a:lnTo>
                        <a:pt x="1822" y="10"/>
                      </a:lnTo>
                      <a:lnTo>
                        <a:pt x="1784" y="18"/>
                      </a:lnTo>
                      <a:lnTo>
                        <a:pt x="1740" y="30"/>
                      </a:lnTo>
                      <a:lnTo>
                        <a:pt x="1694" y="46"/>
                      </a:lnTo>
                      <a:lnTo>
                        <a:pt x="1642" y="66"/>
                      </a:lnTo>
                      <a:lnTo>
                        <a:pt x="1642" y="66"/>
                      </a:lnTo>
                      <a:lnTo>
                        <a:pt x="1592" y="92"/>
                      </a:lnTo>
                      <a:lnTo>
                        <a:pt x="1544" y="118"/>
                      </a:lnTo>
                      <a:lnTo>
                        <a:pt x="1498" y="148"/>
                      </a:lnTo>
                      <a:lnTo>
                        <a:pt x="1454" y="180"/>
                      </a:lnTo>
                      <a:lnTo>
                        <a:pt x="1410" y="216"/>
                      </a:lnTo>
                      <a:lnTo>
                        <a:pt x="1368" y="254"/>
                      </a:lnTo>
                      <a:lnTo>
                        <a:pt x="1328" y="296"/>
                      </a:lnTo>
                      <a:lnTo>
                        <a:pt x="1286" y="342"/>
                      </a:lnTo>
                      <a:lnTo>
                        <a:pt x="1286" y="342"/>
                      </a:lnTo>
                      <a:lnTo>
                        <a:pt x="1254" y="380"/>
                      </a:lnTo>
                      <a:lnTo>
                        <a:pt x="1224" y="420"/>
                      </a:lnTo>
                      <a:lnTo>
                        <a:pt x="1196" y="462"/>
                      </a:lnTo>
                      <a:lnTo>
                        <a:pt x="1170" y="504"/>
                      </a:lnTo>
                      <a:lnTo>
                        <a:pt x="1124" y="578"/>
                      </a:lnTo>
                      <a:lnTo>
                        <a:pt x="1096" y="632"/>
                      </a:lnTo>
                      <a:lnTo>
                        <a:pt x="1096" y="632"/>
                      </a:lnTo>
                      <a:lnTo>
                        <a:pt x="1092" y="622"/>
                      </a:lnTo>
                      <a:lnTo>
                        <a:pt x="1082" y="608"/>
                      </a:lnTo>
                      <a:lnTo>
                        <a:pt x="1082" y="608"/>
                      </a:lnTo>
                      <a:lnTo>
                        <a:pt x="1086" y="600"/>
                      </a:lnTo>
                      <a:lnTo>
                        <a:pt x="1088" y="592"/>
                      </a:lnTo>
                      <a:lnTo>
                        <a:pt x="1088" y="592"/>
                      </a:lnTo>
                      <a:lnTo>
                        <a:pt x="1086" y="584"/>
                      </a:lnTo>
                      <a:lnTo>
                        <a:pt x="1082" y="576"/>
                      </a:lnTo>
                      <a:lnTo>
                        <a:pt x="1074" y="572"/>
                      </a:lnTo>
                      <a:lnTo>
                        <a:pt x="1066" y="570"/>
                      </a:lnTo>
                      <a:lnTo>
                        <a:pt x="1066" y="570"/>
                      </a:lnTo>
                      <a:lnTo>
                        <a:pt x="1064" y="570"/>
                      </a:lnTo>
                      <a:lnTo>
                        <a:pt x="1066" y="564"/>
                      </a:lnTo>
                      <a:lnTo>
                        <a:pt x="1060" y="564"/>
                      </a:lnTo>
                      <a:lnTo>
                        <a:pt x="1056" y="564"/>
                      </a:lnTo>
                      <a:lnTo>
                        <a:pt x="1056" y="564"/>
                      </a:lnTo>
                      <a:lnTo>
                        <a:pt x="1050" y="558"/>
                      </a:lnTo>
                      <a:lnTo>
                        <a:pt x="1048" y="560"/>
                      </a:lnTo>
                      <a:lnTo>
                        <a:pt x="1048" y="558"/>
                      </a:lnTo>
                      <a:lnTo>
                        <a:pt x="1044" y="562"/>
                      </a:lnTo>
                      <a:lnTo>
                        <a:pt x="1038" y="560"/>
                      </a:lnTo>
                      <a:lnTo>
                        <a:pt x="1038" y="564"/>
                      </a:lnTo>
                      <a:lnTo>
                        <a:pt x="1034" y="564"/>
                      </a:lnTo>
                      <a:lnTo>
                        <a:pt x="1030" y="564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26" y="570"/>
                      </a:lnTo>
                      <a:lnTo>
                        <a:pt x="1026" y="570"/>
                      </a:lnTo>
                      <a:lnTo>
                        <a:pt x="1016" y="572"/>
                      </a:lnTo>
                      <a:lnTo>
                        <a:pt x="1010" y="576"/>
                      </a:lnTo>
                      <a:lnTo>
                        <a:pt x="1004" y="584"/>
                      </a:lnTo>
                      <a:lnTo>
                        <a:pt x="1004" y="592"/>
                      </a:lnTo>
                      <a:lnTo>
                        <a:pt x="1004" y="592"/>
                      </a:lnTo>
                      <a:lnTo>
                        <a:pt x="1004" y="598"/>
                      </a:lnTo>
                      <a:lnTo>
                        <a:pt x="1008" y="604"/>
                      </a:lnTo>
                      <a:lnTo>
                        <a:pt x="1008" y="604"/>
                      </a:lnTo>
                      <a:lnTo>
                        <a:pt x="998" y="618"/>
                      </a:lnTo>
                      <a:lnTo>
                        <a:pt x="992" y="628"/>
                      </a:lnTo>
                      <a:lnTo>
                        <a:pt x="992" y="628"/>
                      </a:lnTo>
                      <a:lnTo>
                        <a:pt x="962" y="574"/>
                      </a:lnTo>
                      <a:lnTo>
                        <a:pt x="918" y="500"/>
                      </a:lnTo>
                      <a:lnTo>
                        <a:pt x="892" y="460"/>
                      </a:lnTo>
                      <a:lnTo>
                        <a:pt x="864" y="420"/>
                      </a:lnTo>
                      <a:lnTo>
                        <a:pt x="834" y="378"/>
                      </a:lnTo>
                      <a:lnTo>
                        <a:pt x="802" y="342"/>
                      </a:lnTo>
                      <a:lnTo>
                        <a:pt x="802" y="342"/>
                      </a:lnTo>
                      <a:lnTo>
                        <a:pt x="762" y="296"/>
                      </a:lnTo>
                      <a:lnTo>
                        <a:pt x="720" y="254"/>
                      </a:lnTo>
                      <a:lnTo>
                        <a:pt x="680" y="216"/>
                      </a:lnTo>
                      <a:lnTo>
                        <a:pt x="636" y="180"/>
                      </a:lnTo>
                      <a:lnTo>
                        <a:pt x="592" y="148"/>
                      </a:lnTo>
                      <a:lnTo>
                        <a:pt x="546" y="118"/>
                      </a:lnTo>
                      <a:lnTo>
                        <a:pt x="498" y="92"/>
                      </a:lnTo>
                      <a:lnTo>
                        <a:pt x="448" y="66"/>
                      </a:lnTo>
                      <a:lnTo>
                        <a:pt x="448" y="66"/>
                      </a:lnTo>
                      <a:lnTo>
                        <a:pt x="396" y="46"/>
                      </a:lnTo>
                      <a:lnTo>
                        <a:pt x="348" y="30"/>
                      </a:lnTo>
                      <a:lnTo>
                        <a:pt x="306" y="18"/>
                      </a:lnTo>
                      <a:lnTo>
                        <a:pt x="268" y="10"/>
                      </a:lnTo>
                      <a:lnTo>
                        <a:pt x="238" y="4"/>
                      </a:lnTo>
                      <a:lnTo>
                        <a:pt x="214" y="2"/>
                      </a:lnTo>
                      <a:lnTo>
                        <a:pt x="194" y="0"/>
                      </a:lnTo>
                      <a:lnTo>
                        <a:pt x="126" y="4"/>
                      </a:lnTo>
                      <a:lnTo>
                        <a:pt x="62" y="16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2"/>
                      </a:lnTo>
                      <a:lnTo>
                        <a:pt x="12" y="154"/>
                      </a:lnTo>
                      <a:lnTo>
                        <a:pt x="34" y="198"/>
                      </a:lnTo>
                      <a:lnTo>
                        <a:pt x="34" y="198"/>
                      </a:lnTo>
                      <a:lnTo>
                        <a:pt x="44" y="214"/>
                      </a:lnTo>
                      <a:lnTo>
                        <a:pt x="56" y="226"/>
                      </a:lnTo>
                      <a:lnTo>
                        <a:pt x="60" y="232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70" y="236"/>
                      </a:lnTo>
                      <a:lnTo>
                        <a:pt x="74" y="240"/>
                      </a:lnTo>
                      <a:lnTo>
                        <a:pt x="80" y="252"/>
                      </a:lnTo>
                      <a:lnTo>
                        <a:pt x="86" y="264"/>
                      </a:lnTo>
                      <a:lnTo>
                        <a:pt x="86" y="264"/>
                      </a:lnTo>
                      <a:lnTo>
                        <a:pt x="94" y="278"/>
                      </a:lnTo>
                      <a:lnTo>
                        <a:pt x="104" y="290"/>
                      </a:lnTo>
                      <a:lnTo>
                        <a:pt x="112" y="296"/>
                      </a:lnTo>
                      <a:lnTo>
                        <a:pt x="118" y="300"/>
                      </a:lnTo>
                      <a:lnTo>
                        <a:pt x="118" y="300"/>
                      </a:lnTo>
                      <a:lnTo>
                        <a:pt x="126" y="304"/>
                      </a:lnTo>
                      <a:lnTo>
                        <a:pt x="132" y="310"/>
                      </a:lnTo>
                      <a:lnTo>
                        <a:pt x="146" y="324"/>
                      </a:lnTo>
                      <a:lnTo>
                        <a:pt x="156" y="340"/>
                      </a:lnTo>
                      <a:lnTo>
                        <a:pt x="160" y="350"/>
                      </a:lnTo>
                      <a:lnTo>
                        <a:pt x="160" y="350"/>
                      </a:lnTo>
                      <a:lnTo>
                        <a:pt x="160" y="354"/>
                      </a:lnTo>
                      <a:lnTo>
                        <a:pt x="164" y="360"/>
                      </a:lnTo>
                      <a:lnTo>
                        <a:pt x="176" y="374"/>
                      </a:lnTo>
                      <a:lnTo>
                        <a:pt x="192" y="394"/>
                      </a:lnTo>
                      <a:lnTo>
                        <a:pt x="192" y="394"/>
                      </a:lnTo>
                      <a:lnTo>
                        <a:pt x="198" y="416"/>
                      </a:lnTo>
                      <a:lnTo>
                        <a:pt x="200" y="434"/>
                      </a:lnTo>
                      <a:lnTo>
                        <a:pt x="198" y="442"/>
                      </a:lnTo>
                      <a:lnTo>
                        <a:pt x="196" y="446"/>
                      </a:lnTo>
                      <a:lnTo>
                        <a:pt x="196" y="446"/>
                      </a:lnTo>
                      <a:lnTo>
                        <a:pt x="194" y="450"/>
                      </a:lnTo>
                      <a:lnTo>
                        <a:pt x="196" y="454"/>
                      </a:lnTo>
                      <a:lnTo>
                        <a:pt x="202" y="462"/>
                      </a:lnTo>
                      <a:lnTo>
                        <a:pt x="214" y="472"/>
                      </a:lnTo>
                      <a:lnTo>
                        <a:pt x="214" y="472"/>
                      </a:lnTo>
                      <a:lnTo>
                        <a:pt x="216" y="476"/>
                      </a:lnTo>
                      <a:lnTo>
                        <a:pt x="222" y="486"/>
                      </a:lnTo>
                      <a:lnTo>
                        <a:pt x="224" y="492"/>
                      </a:lnTo>
                      <a:lnTo>
                        <a:pt x="226" y="498"/>
                      </a:lnTo>
                      <a:lnTo>
                        <a:pt x="226" y="506"/>
                      </a:lnTo>
                      <a:lnTo>
                        <a:pt x="222" y="512"/>
                      </a:lnTo>
                      <a:lnTo>
                        <a:pt x="222" y="512"/>
                      </a:lnTo>
                      <a:lnTo>
                        <a:pt x="220" y="518"/>
                      </a:lnTo>
                      <a:lnTo>
                        <a:pt x="220" y="526"/>
                      </a:lnTo>
                      <a:lnTo>
                        <a:pt x="222" y="536"/>
                      </a:lnTo>
                      <a:lnTo>
                        <a:pt x="226" y="546"/>
                      </a:lnTo>
                      <a:lnTo>
                        <a:pt x="236" y="564"/>
                      </a:lnTo>
                      <a:lnTo>
                        <a:pt x="240" y="572"/>
                      </a:lnTo>
                      <a:lnTo>
                        <a:pt x="244" y="574"/>
                      </a:lnTo>
                      <a:lnTo>
                        <a:pt x="244" y="574"/>
                      </a:lnTo>
                      <a:lnTo>
                        <a:pt x="248" y="578"/>
                      </a:lnTo>
                      <a:lnTo>
                        <a:pt x="250" y="582"/>
                      </a:lnTo>
                      <a:lnTo>
                        <a:pt x="256" y="594"/>
                      </a:lnTo>
                      <a:lnTo>
                        <a:pt x="260" y="612"/>
                      </a:lnTo>
                      <a:lnTo>
                        <a:pt x="260" y="612"/>
                      </a:lnTo>
                      <a:lnTo>
                        <a:pt x="260" y="614"/>
                      </a:lnTo>
                      <a:lnTo>
                        <a:pt x="264" y="624"/>
                      </a:lnTo>
                      <a:lnTo>
                        <a:pt x="272" y="640"/>
                      </a:lnTo>
                      <a:lnTo>
                        <a:pt x="288" y="660"/>
                      </a:lnTo>
                      <a:lnTo>
                        <a:pt x="288" y="660"/>
                      </a:lnTo>
                      <a:lnTo>
                        <a:pt x="304" y="680"/>
                      </a:lnTo>
                      <a:lnTo>
                        <a:pt x="314" y="694"/>
                      </a:lnTo>
                      <a:lnTo>
                        <a:pt x="328" y="714"/>
                      </a:lnTo>
                      <a:lnTo>
                        <a:pt x="328" y="714"/>
                      </a:lnTo>
                      <a:lnTo>
                        <a:pt x="332" y="718"/>
                      </a:lnTo>
                      <a:lnTo>
                        <a:pt x="338" y="724"/>
                      </a:lnTo>
                      <a:lnTo>
                        <a:pt x="356" y="732"/>
                      </a:lnTo>
                      <a:lnTo>
                        <a:pt x="378" y="740"/>
                      </a:lnTo>
                      <a:lnTo>
                        <a:pt x="430" y="746"/>
                      </a:lnTo>
                      <a:lnTo>
                        <a:pt x="484" y="746"/>
                      </a:lnTo>
                      <a:lnTo>
                        <a:pt x="534" y="746"/>
                      </a:lnTo>
                      <a:lnTo>
                        <a:pt x="604" y="752"/>
                      </a:lnTo>
                      <a:lnTo>
                        <a:pt x="622" y="754"/>
                      </a:lnTo>
                      <a:lnTo>
                        <a:pt x="622" y="754"/>
                      </a:lnTo>
                      <a:lnTo>
                        <a:pt x="562" y="790"/>
                      </a:lnTo>
                      <a:lnTo>
                        <a:pt x="518" y="820"/>
                      </a:lnTo>
                      <a:lnTo>
                        <a:pt x="488" y="842"/>
                      </a:lnTo>
                      <a:lnTo>
                        <a:pt x="470" y="858"/>
                      </a:lnTo>
                      <a:lnTo>
                        <a:pt x="462" y="868"/>
                      </a:lnTo>
                      <a:lnTo>
                        <a:pt x="458" y="874"/>
                      </a:lnTo>
                      <a:lnTo>
                        <a:pt x="458" y="876"/>
                      </a:lnTo>
                      <a:lnTo>
                        <a:pt x="458" y="878"/>
                      </a:lnTo>
                      <a:lnTo>
                        <a:pt x="384" y="988"/>
                      </a:lnTo>
                      <a:lnTo>
                        <a:pt x="388" y="1004"/>
                      </a:lnTo>
                      <a:lnTo>
                        <a:pt x="384" y="1022"/>
                      </a:lnTo>
                      <a:lnTo>
                        <a:pt x="366" y="1052"/>
                      </a:lnTo>
                      <a:lnTo>
                        <a:pt x="354" y="1078"/>
                      </a:lnTo>
                      <a:lnTo>
                        <a:pt x="342" y="1124"/>
                      </a:lnTo>
                      <a:lnTo>
                        <a:pt x="342" y="1124"/>
                      </a:lnTo>
                      <a:lnTo>
                        <a:pt x="342" y="1130"/>
                      </a:lnTo>
                      <a:lnTo>
                        <a:pt x="344" y="1142"/>
                      </a:lnTo>
                      <a:lnTo>
                        <a:pt x="348" y="1148"/>
                      </a:lnTo>
                      <a:lnTo>
                        <a:pt x="350" y="1156"/>
                      </a:lnTo>
                      <a:lnTo>
                        <a:pt x="356" y="1162"/>
                      </a:lnTo>
                      <a:lnTo>
                        <a:pt x="364" y="1166"/>
                      </a:lnTo>
                      <a:lnTo>
                        <a:pt x="364" y="1166"/>
                      </a:lnTo>
                      <a:lnTo>
                        <a:pt x="372" y="1170"/>
                      </a:lnTo>
                      <a:lnTo>
                        <a:pt x="376" y="1176"/>
                      </a:lnTo>
                      <a:lnTo>
                        <a:pt x="380" y="1184"/>
                      </a:lnTo>
                      <a:lnTo>
                        <a:pt x="382" y="1192"/>
                      </a:lnTo>
                      <a:lnTo>
                        <a:pt x="380" y="1206"/>
                      </a:lnTo>
                      <a:lnTo>
                        <a:pt x="380" y="1212"/>
                      </a:lnTo>
                      <a:lnTo>
                        <a:pt x="382" y="1244"/>
                      </a:lnTo>
                      <a:lnTo>
                        <a:pt x="382" y="1244"/>
                      </a:lnTo>
                      <a:lnTo>
                        <a:pt x="384" y="1248"/>
                      </a:lnTo>
                      <a:lnTo>
                        <a:pt x="392" y="1258"/>
                      </a:lnTo>
                      <a:lnTo>
                        <a:pt x="398" y="1264"/>
                      </a:lnTo>
                      <a:lnTo>
                        <a:pt x="406" y="1268"/>
                      </a:lnTo>
                      <a:lnTo>
                        <a:pt x="416" y="1272"/>
                      </a:lnTo>
                      <a:lnTo>
                        <a:pt x="428" y="1272"/>
                      </a:lnTo>
                      <a:lnTo>
                        <a:pt x="428" y="1272"/>
                      </a:lnTo>
                      <a:lnTo>
                        <a:pt x="440" y="1274"/>
                      </a:lnTo>
                      <a:lnTo>
                        <a:pt x="448" y="1280"/>
                      </a:lnTo>
                      <a:lnTo>
                        <a:pt x="452" y="1286"/>
                      </a:lnTo>
                      <a:lnTo>
                        <a:pt x="456" y="1294"/>
                      </a:lnTo>
                      <a:lnTo>
                        <a:pt x="458" y="1310"/>
                      </a:lnTo>
                      <a:lnTo>
                        <a:pt x="458" y="1316"/>
                      </a:lnTo>
                      <a:lnTo>
                        <a:pt x="458" y="1316"/>
                      </a:lnTo>
                      <a:lnTo>
                        <a:pt x="456" y="1338"/>
                      </a:lnTo>
                      <a:lnTo>
                        <a:pt x="458" y="1354"/>
                      </a:lnTo>
                      <a:lnTo>
                        <a:pt x="458" y="1360"/>
                      </a:lnTo>
                      <a:lnTo>
                        <a:pt x="460" y="1364"/>
                      </a:lnTo>
                      <a:lnTo>
                        <a:pt x="460" y="1364"/>
                      </a:lnTo>
                      <a:lnTo>
                        <a:pt x="468" y="1374"/>
                      </a:lnTo>
                      <a:lnTo>
                        <a:pt x="474" y="1378"/>
                      </a:lnTo>
                      <a:lnTo>
                        <a:pt x="486" y="1380"/>
                      </a:lnTo>
                      <a:lnTo>
                        <a:pt x="486" y="1380"/>
                      </a:lnTo>
                      <a:lnTo>
                        <a:pt x="502" y="1380"/>
                      </a:lnTo>
                      <a:lnTo>
                        <a:pt x="514" y="1384"/>
                      </a:lnTo>
                      <a:lnTo>
                        <a:pt x="522" y="1390"/>
                      </a:lnTo>
                      <a:lnTo>
                        <a:pt x="526" y="1394"/>
                      </a:lnTo>
                      <a:lnTo>
                        <a:pt x="526" y="1396"/>
                      </a:lnTo>
                      <a:lnTo>
                        <a:pt x="526" y="1396"/>
                      </a:lnTo>
                      <a:lnTo>
                        <a:pt x="526" y="1400"/>
                      </a:lnTo>
                      <a:lnTo>
                        <a:pt x="530" y="1404"/>
                      </a:lnTo>
                      <a:lnTo>
                        <a:pt x="532" y="1408"/>
                      </a:lnTo>
                      <a:lnTo>
                        <a:pt x="534" y="1414"/>
                      </a:lnTo>
                      <a:lnTo>
                        <a:pt x="536" y="1422"/>
                      </a:lnTo>
                      <a:lnTo>
                        <a:pt x="536" y="1432"/>
                      </a:lnTo>
                      <a:lnTo>
                        <a:pt x="532" y="1446"/>
                      </a:lnTo>
                      <a:lnTo>
                        <a:pt x="524" y="1462"/>
                      </a:lnTo>
                      <a:lnTo>
                        <a:pt x="524" y="1462"/>
                      </a:lnTo>
                      <a:lnTo>
                        <a:pt x="492" y="1522"/>
                      </a:lnTo>
                      <a:lnTo>
                        <a:pt x="478" y="1540"/>
                      </a:lnTo>
                      <a:lnTo>
                        <a:pt x="472" y="1546"/>
                      </a:lnTo>
                      <a:lnTo>
                        <a:pt x="466" y="1550"/>
                      </a:lnTo>
                      <a:lnTo>
                        <a:pt x="466" y="1550"/>
                      </a:lnTo>
                      <a:lnTo>
                        <a:pt x="460" y="1554"/>
                      </a:lnTo>
                      <a:lnTo>
                        <a:pt x="454" y="1560"/>
                      </a:lnTo>
                      <a:lnTo>
                        <a:pt x="440" y="1578"/>
                      </a:lnTo>
                      <a:lnTo>
                        <a:pt x="424" y="1604"/>
                      </a:lnTo>
                      <a:lnTo>
                        <a:pt x="424" y="1604"/>
                      </a:lnTo>
                      <a:lnTo>
                        <a:pt x="420" y="1614"/>
                      </a:lnTo>
                      <a:lnTo>
                        <a:pt x="412" y="1636"/>
                      </a:lnTo>
                      <a:lnTo>
                        <a:pt x="410" y="1650"/>
                      </a:lnTo>
                      <a:lnTo>
                        <a:pt x="408" y="1666"/>
                      </a:lnTo>
                      <a:lnTo>
                        <a:pt x="410" y="1680"/>
                      </a:lnTo>
                      <a:lnTo>
                        <a:pt x="414" y="1686"/>
                      </a:lnTo>
                      <a:lnTo>
                        <a:pt x="416" y="1692"/>
                      </a:lnTo>
                      <a:lnTo>
                        <a:pt x="416" y="1692"/>
                      </a:lnTo>
                      <a:lnTo>
                        <a:pt x="426" y="1702"/>
                      </a:lnTo>
                      <a:lnTo>
                        <a:pt x="438" y="1710"/>
                      </a:lnTo>
                      <a:lnTo>
                        <a:pt x="450" y="1714"/>
                      </a:lnTo>
                      <a:lnTo>
                        <a:pt x="456" y="1714"/>
                      </a:lnTo>
                      <a:lnTo>
                        <a:pt x="464" y="1714"/>
                      </a:lnTo>
                      <a:lnTo>
                        <a:pt x="470" y="1712"/>
                      </a:lnTo>
                      <a:lnTo>
                        <a:pt x="478" y="1710"/>
                      </a:lnTo>
                      <a:lnTo>
                        <a:pt x="486" y="1704"/>
                      </a:lnTo>
                      <a:lnTo>
                        <a:pt x="492" y="1698"/>
                      </a:lnTo>
                      <a:lnTo>
                        <a:pt x="500" y="1690"/>
                      </a:lnTo>
                      <a:lnTo>
                        <a:pt x="508" y="1678"/>
                      </a:lnTo>
                      <a:lnTo>
                        <a:pt x="514" y="1666"/>
                      </a:lnTo>
                      <a:lnTo>
                        <a:pt x="522" y="1650"/>
                      </a:lnTo>
                      <a:lnTo>
                        <a:pt x="522" y="1650"/>
                      </a:lnTo>
                      <a:lnTo>
                        <a:pt x="548" y="1592"/>
                      </a:lnTo>
                      <a:lnTo>
                        <a:pt x="568" y="1554"/>
                      </a:lnTo>
                      <a:lnTo>
                        <a:pt x="582" y="1532"/>
                      </a:lnTo>
                      <a:lnTo>
                        <a:pt x="586" y="1526"/>
                      </a:lnTo>
                      <a:lnTo>
                        <a:pt x="586" y="1526"/>
                      </a:lnTo>
                      <a:lnTo>
                        <a:pt x="590" y="1522"/>
                      </a:lnTo>
                      <a:lnTo>
                        <a:pt x="594" y="1518"/>
                      </a:lnTo>
                      <a:lnTo>
                        <a:pt x="600" y="1516"/>
                      </a:lnTo>
                      <a:lnTo>
                        <a:pt x="608" y="1514"/>
                      </a:lnTo>
                      <a:lnTo>
                        <a:pt x="620" y="1514"/>
                      </a:lnTo>
                      <a:lnTo>
                        <a:pt x="632" y="1516"/>
                      </a:lnTo>
                      <a:lnTo>
                        <a:pt x="648" y="1520"/>
                      </a:lnTo>
                      <a:lnTo>
                        <a:pt x="648" y="1520"/>
                      </a:lnTo>
                      <a:lnTo>
                        <a:pt x="662" y="1528"/>
                      </a:lnTo>
                      <a:lnTo>
                        <a:pt x="668" y="1532"/>
                      </a:lnTo>
                      <a:lnTo>
                        <a:pt x="670" y="1536"/>
                      </a:lnTo>
                      <a:lnTo>
                        <a:pt x="668" y="1536"/>
                      </a:lnTo>
                      <a:lnTo>
                        <a:pt x="664" y="1538"/>
                      </a:lnTo>
                      <a:lnTo>
                        <a:pt x="670" y="1538"/>
                      </a:lnTo>
                      <a:lnTo>
                        <a:pt x="670" y="1538"/>
                      </a:lnTo>
                      <a:lnTo>
                        <a:pt x="682" y="1536"/>
                      </a:lnTo>
                      <a:lnTo>
                        <a:pt x="692" y="1532"/>
                      </a:lnTo>
                      <a:lnTo>
                        <a:pt x="700" y="1528"/>
                      </a:lnTo>
                      <a:lnTo>
                        <a:pt x="700" y="1528"/>
                      </a:lnTo>
                      <a:lnTo>
                        <a:pt x="708" y="1522"/>
                      </a:lnTo>
                      <a:lnTo>
                        <a:pt x="716" y="1518"/>
                      </a:lnTo>
                      <a:lnTo>
                        <a:pt x="724" y="1516"/>
                      </a:lnTo>
                      <a:lnTo>
                        <a:pt x="724" y="1516"/>
                      </a:lnTo>
                      <a:lnTo>
                        <a:pt x="734" y="1518"/>
                      </a:lnTo>
                      <a:lnTo>
                        <a:pt x="744" y="1522"/>
                      </a:lnTo>
                      <a:lnTo>
                        <a:pt x="754" y="1528"/>
                      </a:lnTo>
                      <a:lnTo>
                        <a:pt x="754" y="1528"/>
                      </a:lnTo>
                      <a:lnTo>
                        <a:pt x="758" y="1530"/>
                      </a:lnTo>
                      <a:lnTo>
                        <a:pt x="768" y="1532"/>
                      </a:lnTo>
                      <a:lnTo>
                        <a:pt x="774" y="1532"/>
                      </a:lnTo>
                      <a:lnTo>
                        <a:pt x="780" y="1532"/>
                      </a:lnTo>
                      <a:lnTo>
                        <a:pt x="786" y="1528"/>
                      </a:lnTo>
                      <a:lnTo>
                        <a:pt x="794" y="1520"/>
                      </a:lnTo>
                      <a:lnTo>
                        <a:pt x="794" y="1520"/>
                      </a:lnTo>
                      <a:lnTo>
                        <a:pt x="800" y="1512"/>
                      </a:lnTo>
                      <a:lnTo>
                        <a:pt x="806" y="1500"/>
                      </a:lnTo>
                      <a:lnTo>
                        <a:pt x="812" y="1478"/>
                      </a:lnTo>
                      <a:lnTo>
                        <a:pt x="816" y="1458"/>
                      </a:lnTo>
                      <a:lnTo>
                        <a:pt x="816" y="1452"/>
                      </a:lnTo>
                      <a:lnTo>
                        <a:pt x="840" y="1406"/>
                      </a:lnTo>
                      <a:lnTo>
                        <a:pt x="844" y="1388"/>
                      </a:lnTo>
                      <a:lnTo>
                        <a:pt x="870" y="1386"/>
                      </a:lnTo>
                      <a:lnTo>
                        <a:pt x="894" y="1318"/>
                      </a:lnTo>
                      <a:lnTo>
                        <a:pt x="922" y="1204"/>
                      </a:lnTo>
                      <a:lnTo>
                        <a:pt x="952" y="1056"/>
                      </a:lnTo>
                      <a:lnTo>
                        <a:pt x="970" y="942"/>
                      </a:lnTo>
                      <a:lnTo>
                        <a:pt x="970" y="942"/>
                      </a:lnTo>
                      <a:lnTo>
                        <a:pt x="974" y="940"/>
                      </a:lnTo>
                      <a:lnTo>
                        <a:pt x="978" y="928"/>
                      </a:lnTo>
                      <a:lnTo>
                        <a:pt x="984" y="908"/>
                      </a:lnTo>
                      <a:lnTo>
                        <a:pt x="986" y="894"/>
                      </a:lnTo>
                      <a:lnTo>
                        <a:pt x="988" y="880"/>
                      </a:lnTo>
                      <a:lnTo>
                        <a:pt x="988" y="880"/>
                      </a:lnTo>
                      <a:lnTo>
                        <a:pt x="990" y="866"/>
                      </a:lnTo>
                      <a:lnTo>
                        <a:pt x="994" y="858"/>
                      </a:lnTo>
                      <a:lnTo>
                        <a:pt x="1000" y="856"/>
                      </a:lnTo>
                      <a:lnTo>
                        <a:pt x="1004" y="854"/>
                      </a:lnTo>
                      <a:lnTo>
                        <a:pt x="1004" y="880"/>
                      </a:lnTo>
                      <a:lnTo>
                        <a:pt x="996" y="942"/>
                      </a:lnTo>
                      <a:lnTo>
                        <a:pt x="998" y="962"/>
                      </a:lnTo>
                      <a:lnTo>
                        <a:pt x="990" y="990"/>
                      </a:lnTo>
                      <a:lnTo>
                        <a:pt x="990" y="1034"/>
                      </a:lnTo>
                      <a:lnTo>
                        <a:pt x="990" y="1046"/>
                      </a:lnTo>
                      <a:lnTo>
                        <a:pt x="990" y="1108"/>
                      </a:lnTo>
                      <a:lnTo>
                        <a:pt x="998" y="1112"/>
                      </a:lnTo>
                      <a:lnTo>
                        <a:pt x="998" y="1122"/>
                      </a:lnTo>
                      <a:lnTo>
                        <a:pt x="990" y="1130"/>
                      </a:lnTo>
                      <a:lnTo>
                        <a:pt x="992" y="1160"/>
                      </a:lnTo>
                      <a:lnTo>
                        <a:pt x="992" y="1208"/>
                      </a:lnTo>
                      <a:lnTo>
                        <a:pt x="1010" y="1248"/>
                      </a:lnTo>
                      <a:lnTo>
                        <a:pt x="1040" y="1274"/>
                      </a:lnTo>
                      <a:lnTo>
                        <a:pt x="1044" y="1246"/>
                      </a:lnTo>
                      <a:lnTo>
                        <a:pt x="1048" y="1274"/>
                      </a:lnTo>
                      <a:lnTo>
                        <a:pt x="1078" y="1248"/>
                      </a:lnTo>
                      <a:lnTo>
                        <a:pt x="1096" y="1208"/>
                      </a:lnTo>
                      <a:lnTo>
                        <a:pt x="1096" y="1160"/>
                      </a:lnTo>
                      <a:lnTo>
                        <a:pt x="1098" y="1130"/>
                      </a:lnTo>
                      <a:lnTo>
                        <a:pt x="1088" y="1122"/>
                      </a:lnTo>
                      <a:lnTo>
                        <a:pt x="1088" y="1112"/>
                      </a:lnTo>
                      <a:lnTo>
                        <a:pt x="1098" y="1108"/>
                      </a:lnTo>
                      <a:lnTo>
                        <a:pt x="1098" y="1046"/>
                      </a:lnTo>
                      <a:lnTo>
                        <a:pt x="1098" y="1034"/>
                      </a:lnTo>
                      <a:lnTo>
                        <a:pt x="1098" y="990"/>
                      </a:lnTo>
                      <a:lnTo>
                        <a:pt x="1088" y="962"/>
                      </a:lnTo>
                      <a:lnTo>
                        <a:pt x="1090" y="942"/>
                      </a:lnTo>
                      <a:lnTo>
                        <a:pt x="1084" y="880"/>
                      </a:lnTo>
                      <a:lnTo>
                        <a:pt x="1082" y="856"/>
                      </a:lnTo>
                      <a:lnTo>
                        <a:pt x="1082" y="856"/>
                      </a:lnTo>
                      <a:lnTo>
                        <a:pt x="1088" y="854"/>
                      </a:lnTo>
                      <a:lnTo>
                        <a:pt x="1094" y="858"/>
                      </a:lnTo>
                      <a:lnTo>
                        <a:pt x="1100" y="866"/>
                      </a:lnTo>
                      <a:lnTo>
                        <a:pt x="1102" y="880"/>
                      </a:lnTo>
                      <a:lnTo>
                        <a:pt x="1102" y="880"/>
                      </a:lnTo>
                      <a:lnTo>
                        <a:pt x="1102" y="894"/>
                      </a:lnTo>
                      <a:lnTo>
                        <a:pt x="1106" y="908"/>
                      </a:lnTo>
                      <a:lnTo>
                        <a:pt x="1112" y="928"/>
                      </a:lnTo>
                      <a:lnTo>
                        <a:pt x="1116" y="940"/>
                      </a:lnTo>
                      <a:lnTo>
                        <a:pt x="1120" y="942"/>
                      </a:lnTo>
                      <a:lnTo>
                        <a:pt x="1138" y="1056"/>
                      </a:lnTo>
                      <a:lnTo>
                        <a:pt x="1168" y="1204"/>
                      </a:lnTo>
                      <a:lnTo>
                        <a:pt x="1196" y="1318"/>
                      </a:lnTo>
                      <a:lnTo>
                        <a:pt x="1220" y="1386"/>
                      </a:lnTo>
                      <a:lnTo>
                        <a:pt x="1246" y="1388"/>
                      </a:lnTo>
                      <a:lnTo>
                        <a:pt x="1250" y="1406"/>
                      </a:lnTo>
                      <a:lnTo>
                        <a:pt x="1274" y="1452"/>
                      </a:lnTo>
                      <a:lnTo>
                        <a:pt x="1274" y="1452"/>
                      </a:lnTo>
                      <a:lnTo>
                        <a:pt x="1274" y="1458"/>
                      </a:lnTo>
                      <a:lnTo>
                        <a:pt x="1278" y="1478"/>
                      </a:lnTo>
                      <a:lnTo>
                        <a:pt x="1284" y="1500"/>
                      </a:lnTo>
                      <a:lnTo>
                        <a:pt x="1290" y="1512"/>
                      </a:lnTo>
                      <a:lnTo>
                        <a:pt x="1296" y="1520"/>
                      </a:lnTo>
                      <a:lnTo>
                        <a:pt x="1296" y="1520"/>
                      </a:lnTo>
                      <a:lnTo>
                        <a:pt x="1304" y="1528"/>
                      </a:lnTo>
                      <a:lnTo>
                        <a:pt x="1310" y="1532"/>
                      </a:lnTo>
                      <a:lnTo>
                        <a:pt x="1316" y="1532"/>
                      </a:lnTo>
                      <a:lnTo>
                        <a:pt x="1322" y="1532"/>
                      </a:lnTo>
                      <a:lnTo>
                        <a:pt x="1332" y="1530"/>
                      </a:lnTo>
                      <a:lnTo>
                        <a:pt x="1334" y="1528"/>
                      </a:lnTo>
                      <a:lnTo>
                        <a:pt x="1334" y="1528"/>
                      </a:lnTo>
                      <a:lnTo>
                        <a:pt x="1346" y="1522"/>
                      </a:lnTo>
                      <a:lnTo>
                        <a:pt x="1356" y="1518"/>
                      </a:lnTo>
                      <a:lnTo>
                        <a:pt x="1366" y="1516"/>
                      </a:lnTo>
                      <a:lnTo>
                        <a:pt x="1366" y="1516"/>
                      </a:lnTo>
                      <a:lnTo>
                        <a:pt x="1374" y="1518"/>
                      </a:lnTo>
                      <a:lnTo>
                        <a:pt x="1382" y="1522"/>
                      </a:lnTo>
                      <a:lnTo>
                        <a:pt x="1390" y="1528"/>
                      </a:lnTo>
                      <a:lnTo>
                        <a:pt x="1390" y="1528"/>
                      </a:lnTo>
                      <a:lnTo>
                        <a:pt x="1398" y="1532"/>
                      </a:lnTo>
                      <a:lnTo>
                        <a:pt x="1406" y="1536"/>
                      </a:lnTo>
                      <a:lnTo>
                        <a:pt x="1420" y="1538"/>
                      </a:lnTo>
                      <a:lnTo>
                        <a:pt x="1420" y="1538"/>
                      </a:lnTo>
                      <a:lnTo>
                        <a:pt x="1426" y="1538"/>
                      </a:lnTo>
                      <a:lnTo>
                        <a:pt x="1422" y="1536"/>
                      </a:lnTo>
                      <a:lnTo>
                        <a:pt x="1420" y="1536"/>
                      </a:lnTo>
                      <a:lnTo>
                        <a:pt x="1422" y="1532"/>
                      </a:lnTo>
                      <a:lnTo>
                        <a:pt x="1428" y="1528"/>
                      </a:lnTo>
                      <a:lnTo>
                        <a:pt x="1442" y="1520"/>
                      </a:lnTo>
                      <a:lnTo>
                        <a:pt x="1442" y="1520"/>
                      </a:lnTo>
                      <a:lnTo>
                        <a:pt x="1458" y="1516"/>
                      </a:lnTo>
                      <a:lnTo>
                        <a:pt x="1470" y="1514"/>
                      </a:lnTo>
                      <a:lnTo>
                        <a:pt x="1482" y="1514"/>
                      </a:lnTo>
                      <a:lnTo>
                        <a:pt x="1490" y="1516"/>
                      </a:lnTo>
                      <a:lnTo>
                        <a:pt x="1496" y="1518"/>
                      </a:lnTo>
                      <a:lnTo>
                        <a:pt x="1500" y="1522"/>
                      </a:lnTo>
                      <a:lnTo>
                        <a:pt x="1502" y="1526"/>
                      </a:lnTo>
                      <a:lnTo>
                        <a:pt x="1502" y="1526"/>
                      </a:lnTo>
                      <a:lnTo>
                        <a:pt x="1508" y="1532"/>
                      </a:lnTo>
                      <a:lnTo>
                        <a:pt x="1522" y="1554"/>
                      </a:lnTo>
                      <a:lnTo>
                        <a:pt x="1542" y="1592"/>
                      </a:lnTo>
                      <a:lnTo>
                        <a:pt x="1568" y="1650"/>
                      </a:lnTo>
                      <a:lnTo>
                        <a:pt x="1568" y="1650"/>
                      </a:lnTo>
                      <a:lnTo>
                        <a:pt x="1576" y="1666"/>
                      </a:lnTo>
                      <a:lnTo>
                        <a:pt x="1582" y="1678"/>
                      </a:lnTo>
                      <a:lnTo>
                        <a:pt x="1590" y="1690"/>
                      </a:lnTo>
                      <a:lnTo>
                        <a:pt x="1598" y="1698"/>
                      </a:lnTo>
                      <a:lnTo>
                        <a:pt x="1604" y="1704"/>
                      </a:lnTo>
                      <a:lnTo>
                        <a:pt x="1612" y="1710"/>
                      </a:lnTo>
                      <a:lnTo>
                        <a:pt x="1620" y="1712"/>
                      </a:lnTo>
                      <a:lnTo>
                        <a:pt x="1626" y="1714"/>
                      </a:lnTo>
                      <a:lnTo>
                        <a:pt x="1634" y="1714"/>
                      </a:lnTo>
                      <a:lnTo>
                        <a:pt x="1640" y="1714"/>
                      </a:lnTo>
                      <a:lnTo>
                        <a:pt x="1652" y="1710"/>
                      </a:lnTo>
                      <a:lnTo>
                        <a:pt x="1664" y="1702"/>
                      </a:lnTo>
                      <a:lnTo>
                        <a:pt x="1672" y="1692"/>
                      </a:lnTo>
                      <a:lnTo>
                        <a:pt x="1672" y="1692"/>
                      </a:lnTo>
                      <a:lnTo>
                        <a:pt x="1676" y="1686"/>
                      </a:lnTo>
                      <a:lnTo>
                        <a:pt x="1678" y="1680"/>
                      </a:lnTo>
                      <a:lnTo>
                        <a:pt x="1682" y="1666"/>
                      </a:lnTo>
                      <a:lnTo>
                        <a:pt x="1680" y="1650"/>
                      </a:lnTo>
                      <a:lnTo>
                        <a:pt x="1678" y="1636"/>
                      </a:lnTo>
                      <a:lnTo>
                        <a:pt x="1670" y="1614"/>
                      </a:lnTo>
                      <a:lnTo>
                        <a:pt x="1666" y="1604"/>
                      </a:lnTo>
                      <a:lnTo>
                        <a:pt x="1666" y="1604"/>
                      </a:lnTo>
                      <a:lnTo>
                        <a:pt x="1650" y="1578"/>
                      </a:lnTo>
                      <a:lnTo>
                        <a:pt x="1636" y="1560"/>
                      </a:lnTo>
                      <a:lnTo>
                        <a:pt x="1630" y="1554"/>
                      </a:lnTo>
                      <a:lnTo>
                        <a:pt x="1622" y="1550"/>
                      </a:lnTo>
                      <a:lnTo>
                        <a:pt x="1622" y="1550"/>
                      </a:lnTo>
                      <a:lnTo>
                        <a:pt x="1618" y="1546"/>
                      </a:lnTo>
                      <a:lnTo>
                        <a:pt x="1612" y="1540"/>
                      </a:lnTo>
                      <a:lnTo>
                        <a:pt x="1598" y="1522"/>
                      </a:lnTo>
                      <a:lnTo>
                        <a:pt x="1566" y="1462"/>
                      </a:lnTo>
                      <a:lnTo>
                        <a:pt x="1566" y="1462"/>
                      </a:lnTo>
                      <a:lnTo>
                        <a:pt x="1558" y="1446"/>
                      </a:lnTo>
                      <a:lnTo>
                        <a:pt x="1554" y="1432"/>
                      </a:lnTo>
                      <a:lnTo>
                        <a:pt x="1554" y="1422"/>
                      </a:lnTo>
                      <a:lnTo>
                        <a:pt x="1556" y="1414"/>
                      </a:lnTo>
                      <a:lnTo>
                        <a:pt x="1558" y="1408"/>
                      </a:lnTo>
                      <a:lnTo>
                        <a:pt x="1560" y="1404"/>
                      </a:lnTo>
                      <a:lnTo>
                        <a:pt x="1562" y="1400"/>
                      </a:lnTo>
                      <a:lnTo>
                        <a:pt x="1564" y="1396"/>
                      </a:lnTo>
                      <a:lnTo>
                        <a:pt x="1564" y="1396"/>
                      </a:lnTo>
                      <a:lnTo>
                        <a:pt x="1564" y="1394"/>
                      </a:lnTo>
                      <a:lnTo>
                        <a:pt x="1566" y="1390"/>
                      </a:lnTo>
                      <a:lnTo>
                        <a:pt x="1576" y="1384"/>
                      </a:lnTo>
                      <a:lnTo>
                        <a:pt x="1588" y="1380"/>
                      </a:lnTo>
                      <a:lnTo>
                        <a:pt x="1604" y="1380"/>
                      </a:lnTo>
                      <a:lnTo>
                        <a:pt x="1604" y="1380"/>
                      </a:lnTo>
                      <a:lnTo>
                        <a:pt x="1616" y="1378"/>
                      </a:lnTo>
                      <a:lnTo>
                        <a:pt x="1622" y="1374"/>
                      </a:lnTo>
                      <a:lnTo>
                        <a:pt x="1630" y="1364"/>
                      </a:lnTo>
                      <a:lnTo>
                        <a:pt x="1630" y="1364"/>
                      </a:lnTo>
                      <a:lnTo>
                        <a:pt x="1632" y="1360"/>
                      </a:lnTo>
                      <a:lnTo>
                        <a:pt x="1632" y="1354"/>
                      </a:lnTo>
                      <a:lnTo>
                        <a:pt x="1632" y="1338"/>
                      </a:lnTo>
                      <a:lnTo>
                        <a:pt x="1632" y="1316"/>
                      </a:lnTo>
                      <a:lnTo>
                        <a:pt x="1632" y="1316"/>
                      </a:lnTo>
                      <a:lnTo>
                        <a:pt x="1632" y="1310"/>
                      </a:lnTo>
                      <a:lnTo>
                        <a:pt x="1634" y="1294"/>
                      </a:lnTo>
                      <a:lnTo>
                        <a:pt x="1638" y="1286"/>
                      </a:lnTo>
                      <a:lnTo>
                        <a:pt x="1642" y="1280"/>
                      </a:lnTo>
                      <a:lnTo>
                        <a:pt x="1650" y="1274"/>
                      </a:lnTo>
                      <a:lnTo>
                        <a:pt x="1662" y="1272"/>
                      </a:lnTo>
                      <a:lnTo>
                        <a:pt x="1662" y="1272"/>
                      </a:lnTo>
                      <a:lnTo>
                        <a:pt x="1674" y="1272"/>
                      </a:lnTo>
                      <a:lnTo>
                        <a:pt x="1684" y="1268"/>
                      </a:lnTo>
                      <a:lnTo>
                        <a:pt x="1692" y="1264"/>
                      </a:lnTo>
                      <a:lnTo>
                        <a:pt x="1698" y="1258"/>
                      </a:lnTo>
                      <a:lnTo>
                        <a:pt x="1706" y="1248"/>
                      </a:lnTo>
                      <a:lnTo>
                        <a:pt x="1708" y="1244"/>
                      </a:lnTo>
                      <a:lnTo>
                        <a:pt x="1710" y="1212"/>
                      </a:lnTo>
                      <a:lnTo>
                        <a:pt x="1710" y="1212"/>
                      </a:lnTo>
                      <a:lnTo>
                        <a:pt x="1710" y="1206"/>
                      </a:lnTo>
                      <a:lnTo>
                        <a:pt x="1708" y="1192"/>
                      </a:lnTo>
                      <a:lnTo>
                        <a:pt x="1710" y="1184"/>
                      </a:lnTo>
                      <a:lnTo>
                        <a:pt x="1712" y="1176"/>
                      </a:lnTo>
                      <a:lnTo>
                        <a:pt x="1718" y="1170"/>
                      </a:lnTo>
                      <a:lnTo>
                        <a:pt x="1726" y="1166"/>
                      </a:lnTo>
                      <a:lnTo>
                        <a:pt x="1726" y="1166"/>
                      </a:lnTo>
                      <a:lnTo>
                        <a:pt x="1734" y="1162"/>
                      </a:lnTo>
                      <a:lnTo>
                        <a:pt x="1738" y="1156"/>
                      </a:lnTo>
                      <a:lnTo>
                        <a:pt x="1742" y="1148"/>
                      </a:lnTo>
                      <a:lnTo>
                        <a:pt x="1746" y="1142"/>
                      </a:lnTo>
                      <a:lnTo>
                        <a:pt x="1748" y="1130"/>
                      </a:lnTo>
                      <a:lnTo>
                        <a:pt x="1748" y="1124"/>
                      </a:lnTo>
                      <a:lnTo>
                        <a:pt x="1736" y="1078"/>
                      </a:lnTo>
                      <a:lnTo>
                        <a:pt x="1724" y="1052"/>
                      </a:lnTo>
                      <a:lnTo>
                        <a:pt x="1706" y="1022"/>
                      </a:lnTo>
                      <a:lnTo>
                        <a:pt x="1702" y="1004"/>
                      </a:lnTo>
                      <a:lnTo>
                        <a:pt x="1706" y="988"/>
                      </a:lnTo>
                      <a:lnTo>
                        <a:pt x="1632" y="878"/>
                      </a:lnTo>
                      <a:lnTo>
                        <a:pt x="1632" y="878"/>
                      </a:lnTo>
                      <a:lnTo>
                        <a:pt x="1632" y="876"/>
                      </a:lnTo>
                      <a:lnTo>
                        <a:pt x="1632" y="874"/>
                      </a:lnTo>
                      <a:lnTo>
                        <a:pt x="1628" y="868"/>
                      </a:lnTo>
                      <a:lnTo>
                        <a:pt x="1620" y="858"/>
                      </a:lnTo>
                      <a:lnTo>
                        <a:pt x="1600" y="842"/>
                      </a:lnTo>
                      <a:lnTo>
                        <a:pt x="1572" y="820"/>
                      </a:lnTo>
                      <a:lnTo>
                        <a:pt x="1528" y="790"/>
                      </a:lnTo>
                      <a:lnTo>
                        <a:pt x="1466" y="754"/>
                      </a:lnTo>
                      <a:lnTo>
                        <a:pt x="1486" y="752"/>
                      </a:lnTo>
                      <a:lnTo>
                        <a:pt x="1556" y="746"/>
                      </a:lnTo>
                      <a:lnTo>
                        <a:pt x="1606" y="746"/>
                      </a:lnTo>
                      <a:lnTo>
                        <a:pt x="1660" y="746"/>
                      </a:lnTo>
                      <a:lnTo>
                        <a:pt x="1712" y="740"/>
                      </a:lnTo>
                      <a:lnTo>
                        <a:pt x="1712" y="740"/>
                      </a:lnTo>
                      <a:lnTo>
                        <a:pt x="1734" y="732"/>
                      </a:lnTo>
                      <a:lnTo>
                        <a:pt x="1750" y="724"/>
                      </a:lnTo>
                      <a:lnTo>
                        <a:pt x="1758" y="718"/>
                      </a:lnTo>
                      <a:lnTo>
                        <a:pt x="1762" y="714"/>
                      </a:lnTo>
                      <a:lnTo>
                        <a:pt x="1762" y="714"/>
                      </a:lnTo>
                      <a:lnTo>
                        <a:pt x="1776" y="694"/>
                      </a:lnTo>
                      <a:lnTo>
                        <a:pt x="1786" y="680"/>
                      </a:lnTo>
                      <a:lnTo>
                        <a:pt x="1802" y="660"/>
                      </a:lnTo>
                      <a:lnTo>
                        <a:pt x="1802" y="660"/>
                      </a:lnTo>
                      <a:lnTo>
                        <a:pt x="1818" y="640"/>
                      </a:lnTo>
                      <a:lnTo>
                        <a:pt x="1826" y="624"/>
                      </a:lnTo>
                      <a:lnTo>
                        <a:pt x="1830" y="614"/>
                      </a:lnTo>
                      <a:lnTo>
                        <a:pt x="1830" y="612"/>
                      </a:lnTo>
                      <a:lnTo>
                        <a:pt x="1830" y="612"/>
                      </a:lnTo>
                      <a:lnTo>
                        <a:pt x="1834" y="594"/>
                      </a:lnTo>
                      <a:lnTo>
                        <a:pt x="1840" y="582"/>
                      </a:lnTo>
                      <a:lnTo>
                        <a:pt x="1842" y="578"/>
                      </a:lnTo>
                      <a:lnTo>
                        <a:pt x="1846" y="574"/>
                      </a:lnTo>
                      <a:lnTo>
                        <a:pt x="1846" y="574"/>
                      </a:lnTo>
                      <a:lnTo>
                        <a:pt x="1850" y="572"/>
                      </a:lnTo>
                      <a:lnTo>
                        <a:pt x="1854" y="564"/>
                      </a:lnTo>
                      <a:lnTo>
                        <a:pt x="1864" y="546"/>
                      </a:lnTo>
                      <a:lnTo>
                        <a:pt x="1868" y="536"/>
                      </a:lnTo>
                      <a:lnTo>
                        <a:pt x="1870" y="526"/>
                      </a:lnTo>
                      <a:lnTo>
                        <a:pt x="1870" y="518"/>
                      </a:lnTo>
                      <a:lnTo>
                        <a:pt x="1868" y="512"/>
                      </a:lnTo>
                      <a:lnTo>
                        <a:pt x="1868" y="512"/>
                      </a:lnTo>
                      <a:lnTo>
                        <a:pt x="1864" y="506"/>
                      </a:lnTo>
                      <a:lnTo>
                        <a:pt x="1864" y="498"/>
                      </a:lnTo>
                      <a:lnTo>
                        <a:pt x="1866" y="492"/>
                      </a:lnTo>
                      <a:lnTo>
                        <a:pt x="1868" y="486"/>
                      </a:lnTo>
                      <a:lnTo>
                        <a:pt x="1872" y="476"/>
                      </a:lnTo>
                      <a:lnTo>
                        <a:pt x="1876" y="472"/>
                      </a:lnTo>
                      <a:lnTo>
                        <a:pt x="1876" y="472"/>
                      </a:lnTo>
                      <a:lnTo>
                        <a:pt x="1888" y="462"/>
                      </a:lnTo>
                      <a:lnTo>
                        <a:pt x="1894" y="454"/>
                      </a:lnTo>
                      <a:lnTo>
                        <a:pt x="1894" y="450"/>
                      </a:lnTo>
                      <a:lnTo>
                        <a:pt x="1894" y="446"/>
                      </a:lnTo>
                      <a:lnTo>
                        <a:pt x="1894" y="446"/>
                      </a:lnTo>
                      <a:lnTo>
                        <a:pt x="1890" y="442"/>
                      </a:lnTo>
                      <a:lnTo>
                        <a:pt x="1890" y="434"/>
                      </a:lnTo>
                      <a:lnTo>
                        <a:pt x="1892" y="416"/>
                      </a:lnTo>
                      <a:lnTo>
                        <a:pt x="1898" y="394"/>
                      </a:lnTo>
                      <a:lnTo>
                        <a:pt x="1898" y="394"/>
                      </a:lnTo>
                      <a:lnTo>
                        <a:pt x="1914" y="374"/>
                      </a:lnTo>
                      <a:lnTo>
                        <a:pt x="1926" y="360"/>
                      </a:lnTo>
                      <a:lnTo>
                        <a:pt x="1928" y="354"/>
                      </a:lnTo>
                      <a:lnTo>
                        <a:pt x="1930" y="350"/>
                      </a:lnTo>
                      <a:lnTo>
                        <a:pt x="1930" y="350"/>
                      </a:lnTo>
                      <a:lnTo>
                        <a:pt x="1934" y="340"/>
                      </a:lnTo>
                      <a:lnTo>
                        <a:pt x="1944" y="324"/>
                      </a:lnTo>
                      <a:lnTo>
                        <a:pt x="1956" y="310"/>
                      </a:lnTo>
                      <a:lnTo>
                        <a:pt x="1964" y="304"/>
                      </a:lnTo>
                      <a:lnTo>
                        <a:pt x="1972" y="300"/>
                      </a:lnTo>
                      <a:lnTo>
                        <a:pt x="1972" y="300"/>
                      </a:lnTo>
                      <a:lnTo>
                        <a:pt x="1978" y="296"/>
                      </a:lnTo>
                      <a:lnTo>
                        <a:pt x="1986" y="290"/>
                      </a:lnTo>
                      <a:lnTo>
                        <a:pt x="1996" y="278"/>
                      </a:lnTo>
                      <a:lnTo>
                        <a:pt x="2004" y="264"/>
                      </a:lnTo>
                      <a:lnTo>
                        <a:pt x="2004" y="264"/>
                      </a:lnTo>
                      <a:lnTo>
                        <a:pt x="2010" y="252"/>
                      </a:lnTo>
                      <a:lnTo>
                        <a:pt x="2016" y="240"/>
                      </a:lnTo>
                      <a:lnTo>
                        <a:pt x="2020" y="236"/>
                      </a:lnTo>
                      <a:lnTo>
                        <a:pt x="2024" y="234"/>
                      </a:lnTo>
                      <a:lnTo>
                        <a:pt x="2024" y="234"/>
                      </a:lnTo>
                      <a:lnTo>
                        <a:pt x="2030" y="232"/>
                      </a:lnTo>
                      <a:lnTo>
                        <a:pt x="2034" y="226"/>
                      </a:lnTo>
                      <a:lnTo>
                        <a:pt x="2046" y="214"/>
                      </a:lnTo>
                      <a:lnTo>
                        <a:pt x="2056" y="198"/>
                      </a:lnTo>
                      <a:lnTo>
                        <a:pt x="2078" y="154"/>
                      </a:lnTo>
                      <a:lnTo>
                        <a:pt x="2090" y="112"/>
                      </a:lnTo>
                      <a:lnTo>
                        <a:pt x="2088" y="78"/>
                      </a:lnTo>
                      <a:close/>
                      <a:moveTo>
                        <a:pt x="1040" y="574"/>
                      </a:move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6000"/>
                  </a:schemeClr>
                </a:solidFill>
                <a:ln>
                  <a:noFill/>
                </a:ln>
                <a:effectLst>
                  <a:glow rad="38100">
                    <a:schemeClr val="bg2">
                      <a:lumMod val="50000"/>
                      <a:lumOff val="50000"/>
                      <a:alpha val="15000"/>
                    </a:schemeClr>
                  </a:glow>
                  <a:softEdge rad="127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3" name="Group 87"/>
              <p:cNvGrpSpPr>
                <a:grpSpLocks noChangeAspect="1"/>
              </p:cNvGrpSpPr>
              <p:nvPr/>
            </p:nvGrpSpPr>
            <p:grpSpPr>
              <a:xfrm>
                <a:off x="-9" y="5334005"/>
                <a:ext cx="1188232" cy="1524017"/>
                <a:chOff x="2743200" y="306388"/>
                <a:chExt cx="1876425" cy="2406650"/>
              </a:xfrm>
              <a:solidFill>
                <a:schemeClr val="bg2">
                  <a:lumMod val="50000"/>
                  <a:lumOff val="50000"/>
                  <a:alpha val="8000"/>
                </a:schemeClr>
              </a:solidFill>
            </p:grpSpPr>
            <p:sp>
              <p:nvSpPr>
                <p:cNvPr id="204" name="Freeform 21"/>
                <p:cNvSpPr>
                  <a:spLocks/>
                </p:cNvSpPr>
                <p:nvPr/>
              </p:nvSpPr>
              <p:spPr bwMode="auto">
                <a:xfrm>
                  <a:off x="3333750" y="890588"/>
                  <a:ext cx="34925" cy="482600"/>
                </a:xfrm>
                <a:custGeom>
                  <a:avLst/>
                  <a:gdLst>
                    <a:gd name="T0" fmla="*/ 20 w 22"/>
                    <a:gd name="T1" fmla="*/ 304 h 304"/>
                    <a:gd name="T2" fmla="*/ 20 w 22"/>
                    <a:gd name="T3" fmla="*/ 304 h 304"/>
                    <a:gd name="T4" fmla="*/ 22 w 22"/>
                    <a:gd name="T5" fmla="*/ 304 h 304"/>
                    <a:gd name="T6" fmla="*/ 22 w 22"/>
                    <a:gd name="T7" fmla="*/ 304 h 304"/>
                    <a:gd name="T8" fmla="*/ 22 w 22"/>
                    <a:gd name="T9" fmla="*/ 286 h 304"/>
                    <a:gd name="T10" fmla="*/ 14 w 22"/>
                    <a:gd name="T11" fmla="*/ 54 h 304"/>
                    <a:gd name="T12" fmla="*/ 14 w 22"/>
                    <a:gd name="T13" fmla="*/ 54 h 304"/>
                    <a:gd name="T14" fmla="*/ 14 w 22"/>
                    <a:gd name="T15" fmla="*/ 26 h 304"/>
                    <a:gd name="T16" fmla="*/ 14 w 22"/>
                    <a:gd name="T17" fmla="*/ 26 h 304"/>
                    <a:gd name="T18" fmla="*/ 12 w 22"/>
                    <a:gd name="T19" fmla="*/ 16 h 304"/>
                    <a:gd name="T20" fmla="*/ 8 w 22"/>
                    <a:gd name="T21" fmla="*/ 6 h 304"/>
                    <a:gd name="T22" fmla="*/ 8 w 22"/>
                    <a:gd name="T23" fmla="*/ 6 h 304"/>
                    <a:gd name="T24" fmla="*/ 4 w 22"/>
                    <a:gd name="T25" fmla="*/ 0 h 304"/>
                    <a:gd name="T26" fmla="*/ 2 w 22"/>
                    <a:gd name="T27" fmla="*/ 0 h 304"/>
                    <a:gd name="T28" fmla="*/ 2 w 22"/>
                    <a:gd name="T29" fmla="*/ 2 h 304"/>
                    <a:gd name="T30" fmla="*/ 2 w 22"/>
                    <a:gd name="T31" fmla="*/ 2 h 304"/>
                    <a:gd name="T32" fmla="*/ 0 w 22"/>
                    <a:gd name="T33" fmla="*/ 10 h 304"/>
                    <a:gd name="T34" fmla="*/ 2 w 22"/>
                    <a:gd name="T35" fmla="*/ 18 h 304"/>
                    <a:gd name="T36" fmla="*/ 2 w 22"/>
                    <a:gd name="T37" fmla="*/ 18 h 304"/>
                    <a:gd name="T38" fmla="*/ 4 w 22"/>
                    <a:gd name="T39" fmla="*/ 40 h 304"/>
                    <a:gd name="T40" fmla="*/ 18 w 22"/>
                    <a:gd name="T41" fmla="*/ 286 h 304"/>
                    <a:gd name="T42" fmla="*/ 18 w 22"/>
                    <a:gd name="T43" fmla="*/ 286 h 304"/>
                    <a:gd name="T44" fmla="*/ 20 w 22"/>
                    <a:gd name="T45" fmla="*/ 304 h 304"/>
                    <a:gd name="T46" fmla="*/ 20 w 22"/>
                    <a:gd name="T47" fmla="*/ 304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2" h="304">
                      <a:moveTo>
                        <a:pt x="20" y="304"/>
                      </a:moveTo>
                      <a:lnTo>
                        <a:pt x="20" y="304"/>
                      </a:lnTo>
                      <a:lnTo>
                        <a:pt x="22" y="304"/>
                      </a:lnTo>
                      <a:lnTo>
                        <a:pt x="22" y="304"/>
                      </a:lnTo>
                      <a:lnTo>
                        <a:pt x="22" y="286"/>
                      </a:lnTo>
                      <a:lnTo>
                        <a:pt x="14" y="54"/>
                      </a:lnTo>
                      <a:lnTo>
                        <a:pt x="14" y="54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2" y="1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10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4" y="40"/>
                      </a:lnTo>
                      <a:lnTo>
                        <a:pt x="18" y="286"/>
                      </a:lnTo>
                      <a:lnTo>
                        <a:pt x="18" y="286"/>
                      </a:lnTo>
                      <a:lnTo>
                        <a:pt x="20" y="304"/>
                      </a:lnTo>
                      <a:lnTo>
                        <a:pt x="20" y="3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5" name="Freeform 22"/>
                <p:cNvSpPr>
                  <a:spLocks/>
                </p:cNvSpPr>
                <p:nvPr/>
              </p:nvSpPr>
              <p:spPr bwMode="auto">
                <a:xfrm>
                  <a:off x="3362325" y="1382713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6" name="Freeform 23"/>
                <p:cNvSpPr>
                  <a:spLocks/>
                </p:cNvSpPr>
                <p:nvPr/>
              </p:nvSpPr>
              <p:spPr bwMode="auto">
                <a:xfrm>
                  <a:off x="3384550" y="1173163"/>
                  <a:ext cx="438150" cy="212725"/>
                </a:xfrm>
                <a:custGeom>
                  <a:avLst/>
                  <a:gdLst>
                    <a:gd name="T0" fmla="*/ 2 w 276"/>
                    <a:gd name="T1" fmla="*/ 134 h 134"/>
                    <a:gd name="T2" fmla="*/ 2 w 276"/>
                    <a:gd name="T3" fmla="*/ 134 h 134"/>
                    <a:gd name="T4" fmla="*/ 16 w 276"/>
                    <a:gd name="T5" fmla="*/ 128 h 134"/>
                    <a:gd name="T6" fmla="*/ 238 w 276"/>
                    <a:gd name="T7" fmla="*/ 20 h 134"/>
                    <a:gd name="T8" fmla="*/ 238 w 276"/>
                    <a:gd name="T9" fmla="*/ 20 h 134"/>
                    <a:gd name="T10" fmla="*/ 260 w 276"/>
                    <a:gd name="T11" fmla="*/ 12 h 134"/>
                    <a:gd name="T12" fmla="*/ 260 w 276"/>
                    <a:gd name="T13" fmla="*/ 12 h 134"/>
                    <a:gd name="T14" fmla="*/ 268 w 276"/>
                    <a:gd name="T15" fmla="*/ 10 h 134"/>
                    <a:gd name="T16" fmla="*/ 274 w 276"/>
                    <a:gd name="T17" fmla="*/ 6 h 134"/>
                    <a:gd name="T18" fmla="*/ 274 w 276"/>
                    <a:gd name="T19" fmla="*/ 6 h 134"/>
                    <a:gd name="T20" fmla="*/ 276 w 276"/>
                    <a:gd name="T21" fmla="*/ 2 h 134"/>
                    <a:gd name="T22" fmla="*/ 274 w 276"/>
                    <a:gd name="T23" fmla="*/ 2 h 134"/>
                    <a:gd name="T24" fmla="*/ 268 w 276"/>
                    <a:gd name="T25" fmla="*/ 0 h 134"/>
                    <a:gd name="T26" fmla="*/ 268 w 276"/>
                    <a:gd name="T27" fmla="*/ 0 h 134"/>
                    <a:gd name="T28" fmla="*/ 258 w 276"/>
                    <a:gd name="T29" fmla="*/ 2 h 134"/>
                    <a:gd name="T30" fmla="*/ 248 w 276"/>
                    <a:gd name="T31" fmla="*/ 6 h 134"/>
                    <a:gd name="T32" fmla="*/ 248 w 276"/>
                    <a:gd name="T33" fmla="*/ 6 h 134"/>
                    <a:gd name="T34" fmla="*/ 222 w 276"/>
                    <a:gd name="T35" fmla="*/ 18 h 134"/>
                    <a:gd name="T36" fmla="*/ 16 w 276"/>
                    <a:gd name="T37" fmla="*/ 124 h 134"/>
                    <a:gd name="T38" fmla="*/ 16 w 276"/>
                    <a:gd name="T39" fmla="*/ 124 h 134"/>
                    <a:gd name="T40" fmla="*/ 0 w 276"/>
                    <a:gd name="T41" fmla="*/ 132 h 134"/>
                    <a:gd name="T42" fmla="*/ 0 w 276"/>
                    <a:gd name="T43" fmla="*/ 132 h 134"/>
                    <a:gd name="T44" fmla="*/ 0 w 276"/>
                    <a:gd name="T45" fmla="*/ 134 h 134"/>
                    <a:gd name="T46" fmla="*/ 0 w 276"/>
                    <a:gd name="T47" fmla="*/ 134 h 134"/>
                    <a:gd name="T48" fmla="*/ 2 w 276"/>
                    <a:gd name="T49" fmla="*/ 134 h 134"/>
                    <a:gd name="T50" fmla="*/ 2 w 276"/>
                    <a:gd name="T51" fmla="*/ 134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76" h="134">
                      <a:moveTo>
                        <a:pt x="2" y="134"/>
                      </a:moveTo>
                      <a:lnTo>
                        <a:pt x="2" y="134"/>
                      </a:lnTo>
                      <a:lnTo>
                        <a:pt x="16" y="128"/>
                      </a:lnTo>
                      <a:lnTo>
                        <a:pt x="238" y="20"/>
                      </a:lnTo>
                      <a:lnTo>
                        <a:pt x="238" y="20"/>
                      </a:lnTo>
                      <a:lnTo>
                        <a:pt x="260" y="12"/>
                      </a:lnTo>
                      <a:lnTo>
                        <a:pt x="260" y="12"/>
                      </a:lnTo>
                      <a:lnTo>
                        <a:pt x="268" y="10"/>
                      </a:lnTo>
                      <a:lnTo>
                        <a:pt x="274" y="6"/>
                      </a:lnTo>
                      <a:lnTo>
                        <a:pt x="274" y="6"/>
                      </a:lnTo>
                      <a:lnTo>
                        <a:pt x="276" y="2"/>
                      </a:lnTo>
                      <a:lnTo>
                        <a:pt x="274" y="2"/>
                      </a:lnTo>
                      <a:lnTo>
                        <a:pt x="268" y="0"/>
                      </a:lnTo>
                      <a:lnTo>
                        <a:pt x="268" y="0"/>
                      </a:lnTo>
                      <a:lnTo>
                        <a:pt x="258" y="2"/>
                      </a:lnTo>
                      <a:lnTo>
                        <a:pt x="248" y="6"/>
                      </a:lnTo>
                      <a:lnTo>
                        <a:pt x="248" y="6"/>
                      </a:lnTo>
                      <a:lnTo>
                        <a:pt x="222" y="18"/>
                      </a:lnTo>
                      <a:lnTo>
                        <a:pt x="16" y="124"/>
                      </a:lnTo>
                      <a:lnTo>
                        <a:pt x="16" y="124"/>
                      </a:lnTo>
                      <a:lnTo>
                        <a:pt x="0" y="132"/>
                      </a:lnTo>
                      <a:lnTo>
                        <a:pt x="0" y="132"/>
                      </a:lnTo>
                      <a:lnTo>
                        <a:pt x="0" y="134"/>
                      </a:lnTo>
                      <a:lnTo>
                        <a:pt x="0" y="134"/>
                      </a:lnTo>
                      <a:lnTo>
                        <a:pt x="2" y="134"/>
                      </a:lnTo>
                      <a:lnTo>
                        <a:pt x="2" y="1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7" name="Freeform 24"/>
                <p:cNvSpPr>
                  <a:spLocks noEditPoints="1"/>
                </p:cNvSpPr>
                <p:nvPr/>
              </p:nvSpPr>
              <p:spPr bwMode="auto">
                <a:xfrm>
                  <a:off x="2743200" y="306388"/>
                  <a:ext cx="1876425" cy="2406650"/>
                </a:xfrm>
                <a:custGeom>
                  <a:avLst/>
                  <a:gdLst>
                    <a:gd name="T0" fmla="*/ 1052 w 1182"/>
                    <a:gd name="T1" fmla="*/ 606 h 1516"/>
                    <a:gd name="T2" fmla="*/ 928 w 1182"/>
                    <a:gd name="T3" fmla="*/ 580 h 1516"/>
                    <a:gd name="T4" fmla="*/ 738 w 1182"/>
                    <a:gd name="T5" fmla="*/ 592 h 1516"/>
                    <a:gd name="T6" fmla="*/ 590 w 1182"/>
                    <a:gd name="T7" fmla="*/ 640 h 1516"/>
                    <a:gd name="T8" fmla="*/ 408 w 1182"/>
                    <a:gd name="T9" fmla="*/ 740 h 1516"/>
                    <a:gd name="T10" fmla="*/ 404 w 1182"/>
                    <a:gd name="T11" fmla="*/ 716 h 1516"/>
                    <a:gd name="T12" fmla="*/ 416 w 1182"/>
                    <a:gd name="T13" fmla="*/ 696 h 1516"/>
                    <a:gd name="T14" fmla="*/ 410 w 1182"/>
                    <a:gd name="T15" fmla="*/ 684 h 1516"/>
                    <a:gd name="T16" fmla="*/ 400 w 1182"/>
                    <a:gd name="T17" fmla="*/ 674 h 1516"/>
                    <a:gd name="T18" fmla="*/ 390 w 1182"/>
                    <a:gd name="T19" fmla="*/ 670 h 1516"/>
                    <a:gd name="T20" fmla="*/ 382 w 1182"/>
                    <a:gd name="T21" fmla="*/ 670 h 1516"/>
                    <a:gd name="T22" fmla="*/ 360 w 1182"/>
                    <a:gd name="T23" fmla="*/ 676 h 1516"/>
                    <a:gd name="T24" fmla="*/ 346 w 1182"/>
                    <a:gd name="T25" fmla="*/ 692 h 1516"/>
                    <a:gd name="T26" fmla="*/ 336 w 1182"/>
                    <a:gd name="T27" fmla="*/ 652 h 1516"/>
                    <a:gd name="T28" fmla="*/ 330 w 1182"/>
                    <a:gd name="T29" fmla="*/ 454 h 1516"/>
                    <a:gd name="T30" fmla="*/ 278 w 1182"/>
                    <a:gd name="T31" fmla="*/ 264 h 1516"/>
                    <a:gd name="T32" fmla="*/ 202 w 1182"/>
                    <a:gd name="T33" fmla="*/ 132 h 1516"/>
                    <a:gd name="T34" fmla="*/ 102 w 1182"/>
                    <a:gd name="T35" fmla="*/ 36 h 1516"/>
                    <a:gd name="T36" fmla="*/ 26 w 1182"/>
                    <a:gd name="T37" fmla="*/ 612 h 1516"/>
                    <a:gd name="T38" fmla="*/ 42 w 1182"/>
                    <a:gd name="T39" fmla="*/ 658 h 1516"/>
                    <a:gd name="T40" fmla="*/ 16 w 1182"/>
                    <a:gd name="T41" fmla="*/ 1072 h 1516"/>
                    <a:gd name="T42" fmla="*/ 172 w 1182"/>
                    <a:gd name="T43" fmla="*/ 898 h 1516"/>
                    <a:gd name="T44" fmla="*/ 208 w 1182"/>
                    <a:gd name="T45" fmla="*/ 874 h 1516"/>
                    <a:gd name="T46" fmla="*/ 226 w 1182"/>
                    <a:gd name="T47" fmla="*/ 896 h 1516"/>
                    <a:gd name="T48" fmla="*/ 158 w 1182"/>
                    <a:gd name="T49" fmla="*/ 998 h 1516"/>
                    <a:gd name="T50" fmla="*/ 122 w 1182"/>
                    <a:gd name="T51" fmla="*/ 1062 h 1516"/>
                    <a:gd name="T52" fmla="*/ 162 w 1182"/>
                    <a:gd name="T53" fmla="*/ 1118 h 1516"/>
                    <a:gd name="T54" fmla="*/ 220 w 1182"/>
                    <a:gd name="T55" fmla="*/ 1036 h 1516"/>
                    <a:gd name="T56" fmla="*/ 276 w 1182"/>
                    <a:gd name="T57" fmla="*/ 942 h 1516"/>
                    <a:gd name="T58" fmla="*/ 306 w 1182"/>
                    <a:gd name="T59" fmla="*/ 920 h 1516"/>
                    <a:gd name="T60" fmla="*/ 316 w 1182"/>
                    <a:gd name="T61" fmla="*/ 942 h 1516"/>
                    <a:gd name="T62" fmla="*/ 250 w 1182"/>
                    <a:gd name="T63" fmla="*/ 1148 h 1516"/>
                    <a:gd name="T64" fmla="*/ 224 w 1182"/>
                    <a:gd name="T65" fmla="*/ 1250 h 1516"/>
                    <a:gd name="T66" fmla="*/ 232 w 1182"/>
                    <a:gd name="T67" fmla="*/ 1342 h 1516"/>
                    <a:gd name="T68" fmla="*/ 242 w 1182"/>
                    <a:gd name="T69" fmla="*/ 1400 h 1516"/>
                    <a:gd name="T70" fmla="*/ 258 w 1182"/>
                    <a:gd name="T71" fmla="*/ 1432 h 1516"/>
                    <a:gd name="T72" fmla="*/ 310 w 1182"/>
                    <a:gd name="T73" fmla="*/ 1496 h 1516"/>
                    <a:gd name="T74" fmla="*/ 314 w 1182"/>
                    <a:gd name="T75" fmla="*/ 1458 h 1516"/>
                    <a:gd name="T76" fmla="*/ 300 w 1182"/>
                    <a:gd name="T77" fmla="*/ 1390 h 1516"/>
                    <a:gd name="T78" fmla="*/ 316 w 1182"/>
                    <a:gd name="T79" fmla="*/ 1298 h 1516"/>
                    <a:gd name="T80" fmla="*/ 350 w 1182"/>
                    <a:gd name="T81" fmla="*/ 1252 h 1516"/>
                    <a:gd name="T82" fmla="*/ 378 w 1182"/>
                    <a:gd name="T83" fmla="*/ 1242 h 1516"/>
                    <a:gd name="T84" fmla="*/ 426 w 1182"/>
                    <a:gd name="T85" fmla="*/ 1228 h 1516"/>
                    <a:gd name="T86" fmla="*/ 440 w 1182"/>
                    <a:gd name="T87" fmla="*/ 1210 h 1516"/>
                    <a:gd name="T88" fmla="*/ 480 w 1182"/>
                    <a:gd name="T89" fmla="*/ 1202 h 1516"/>
                    <a:gd name="T90" fmla="*/ 554 w 1182"/>
                    <a:gd name="T91" fmla="*/ 1172 h 1516"/>
                    <a:gd name="T92" fmla="*/ 620 w 1182"/>
                    <a:gd name="T93" fmla="*/ 1120 h 1516"/>
                    <a:gd name="T94" fmla="*/ 612 w 1182"/>
                    <a:gd name="T95" fmla="*/ 1058 h 1516"/>
                    <a:gd name="T96" fmla="*/ 558 w 1182"/>
                    <a:gd name="T97" fmla="*/ 938 h 1516"/>
                    <a:gd name="T98" fmla="*/ 688 w 1182"/>
                    <a:gd name="T99" fmla="*/ 1006 h 1516"/>
                    <a:gd name="T100" fmla="*/ 760 w 1182"/>
                    <a:gd name="T101" fmla="*/ 1020 h 1516"/>
                    <a:gd name="T102" fmla="*/ 818 w 1182"/>
                    <a:gd name="T103" fmla="*/ 992 h 1516"/>
                    <a:gd name="T104" fmla="*/ 852 w 1182"/>
                    <a:gd name="T105" fmla="*/ 966 h 1516"/>
                    <a:gd name="T106" fmla="*/ 890 w 1182"/>
                    <a:gd name="T107" fmla="*/ 942 h 1516"/>
                    <a:gd name="T108" fmla="*/ 898 w 1182"/>
                    <a:gd name="T109" fmla="*/ 922 h 1516"/>
                    <a:gd name="T110" fmla="*/ 932 w 1182"/>
                    <a:gd name="T111" fmla="*/ 904 h 1516"/>
                    <a:gd name="T112" fmla="*/ 936 w 1182"/>
                    <a:gd name="T113" fmla="*/ 892 h 1516"/>
                    <a:gd name="T114" fmla="*/ 984 w 1182"/>
                    <a:gd name="T115" fmla="*/ 858 h 1516"/>
                    <a:gd name="T116" fmla="*/ 1020 w 1182"/>
                    <a:gd name="T117" fmla="*/ 838 h 1516"/>
                    <a:gd name="T118" fmla="*/ 1064 w 1182"/>
                    <a:gd name="T119" fmla="*/ 826 h 1516"/>
                    <a:gd name="T120" fmla="*/ 1086 w 1182"/>
                    <a:gd name="T121" fmla="*/ 814 h 1516"/>
                    <a:gd name="T122" fmla="*/ 1168 w 1182"/>
                    <a:gd name="T123" fmla="*/ 760 h 1516"/>
                    <a:gd name="T124" fmla="*/ 390 w 1182"/>
                    <a:gd name="T125" fmla="*/ 678 h 15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182" h="1516">
                      <a:moveTo>
                        <a:pt x="1136" y="650"/>
                      </a:moveTo>
                      <a:lnTo>
                        <a:pt x="1098" y="626"/>
                      </a:lnTo>
                      <a:lnTo>
                        <a:pt x="1098" y="626"/>
                      </a:lnTo>
                      <a:lnTo>
                        <a:pt x="1086" y="620"/>
                      </a:lnTo>
                      <a:lnTo>
                        <a:pt x="1052" y="606"/>
                      </a:lnTo>
                      <a:lnTo>
                        <a:pt x="1026" y="598"/>
                      </a:lnTo>
                      <a:lnTo>
                        <a:pt x="998" y="590"/>
                      </a:lnTo>
                      <a:lnTo>
                        <a:pt x="964" y="584"/>
                      </a:lnTo>
                      <a:lnTo>
                        <a:pt x="928" y="580"/>
                      </a:lnTo>
                      <a:lnTo>
                        <a:pt x="928" y="580"/>
                      </a:lnTo>
                      <a:lnTo>
                        <a:pt x="890" y="578"/>
                      </a:lnTo>
                      <a:lnTo>
                        <a:pt x="852" y="578"/>
                      </a:lnTo>
                      <a:lnTo>
                        <a:pt x="814" y="580"/>
                      </a:lnTo>
                      <a:lnTo>
                        <a:pt x="776" y="586"/>
                      </a:lnTo>
                      <a:lnTo>
                        <a:pt x="738" y="592"/>
                      </a:lnTo>
                      <a:lnTo>
                        <a:pt x="700" y="602"/>
                      </a:lnTo>
                      <a:lnTo>
                        <a:pt x="662" y="614"/>
                      </a:lnTo>
                      <a:lnTo>
                        <a:pt x="622" y="628"/>
                      </a:lnTo>
                      <a:lnTo>
                        <a:pt x="622" y="628"/>
                      </a:lnTo>
                      <a:lnTo>
                        <a:pt x="590" y="640"/>
                      </a:lnTo>
                      <a:lnTo>
                        <a:pt x="558" y="654"/>
                      </a:lnTo>
                      <a:lnTo>
                        <a:pt x="496" y="686"/>
                      </a:lnTo>
                      <a:lnTo>
                        <a:pt x="444" y="716"/>
                      </a:lnTo>
                      <a:lnTo>
                        <a:pt x="408" y="740"/>
                      </a:lnTo>
                      <a:lnTo>
                        <a:pt x="408" y="740"/>
                      </a:lnTo>
                      <a:lnTo>
                        <a:pt x="404" y="736"/>
                      </a:lnTo>
                      <a:lnTo>
                        <a:pt x="404" y="736"/>
                      </a:lnTo>
                      <a:lnTo>
                        <a:pt x="406" y="728"/>
                      </a:lnTo>
                      <a:lnTo>
                        <a:pt x="404" y="716"/>
                      </a:lnTo>
                      <a:lnTo>
                        <a:pt x="404" y="716"/>
                      </a:lnTo>
                      <a:lnTo>
                        <a:pt x="410" y="714"/>
                      </a:lnTo>
                      <a:lnTo>
                        <a:pt x="414" y="708"/>
                      </a:lnTo>
                      <a:lnTo>
                        <a:pt x="414" y="708"/>
                      </a:lnTo>
                      <a:lnTo>
                        <a:pt x="416" y="702"/>
                      </a:lnTo>
                      <a:lnTo>
                        <a:pt x="416" y="696"/>
                      </a:lnTo>
                      <a:lnTo>
                        <a:pt x="414" y="690"/>
                      </a:lnTo>
                      <a:lnTo>
                        <a:pt x="408" y="686"/>
                      </a:lnTo>
                      <a:lnTo>
                        <a:pt x="408" y="686"/>
                      </a:lnTo>
                      <a:lnTo>
                        <a:pt x="406" y="686"/>
                      </a:lnTo>
                      <a:lnTo>
                        <a:pt x="410" y="684"/>
                      </a:lnTo>
                      <a:lnTo>
                        <a:pt x="406" y="680"/>
                      </a:lnTo>
                      <a:lnTo>
                        <a:pt x="404" y="680"/>
                      </a:lnTo>
                      <a:lnTo>
                        <a:pt x="404" y="678"/>
                      </a:lnTo>
                      <a:lnTo>
                        <a:pt x="402" y="672"/>
                      </a:lnTo>
                      <a:lnTo>
                        <a:pt x="400" y="674"/>
                      </a:lnTo>
                      <a:lnTo>
                        <a:pt x="400" y="672"/>
                      </a:lnTo>
                      <a:lnTo>
                        <a:pt x="398" y="672"/>
                      </a:lnTo>
                      <a:lnTo>
                        <a:pt x="394" y="670"/>
                      </a:lnTo>
                      <a:lnTo>
                        <a:pt x="392" y="672"/>
                      </a:lnTo>
                      <a:lnTo>
                        <a:pt x="390" y="670"/>
                      </a:lnTo>
                      <a:lnTo>
                        <a:pt x="388" y="670"/>
                      </a:lnTo>
                      <a:lnTo>
                        <a:pt x="388" y="674"/>
                      </a:lnTo>
                      <a:lnTo>
                        <a:pt x="388" y="676"/>
                      </a:lnTo>
                      <a:lnTo>
                        <a:pt x="388" y="676"/>
                      </a:lnTo>
                      <a:lnTo>
                        <a:pt x="382" y="670"/>
                      </a:lnTo>
                      <a:lnTo>
                        <a:pt x="382" y="670"/>
                      </a:lnTo>
                      <a:lnTo>
                        <a:pt x="376" y="668"/>
                      </a:lnTo>
                      <a:lnTo>
                        <a:pt x="370" y="670"/>
                      </a:lnTo>
                      <a:lnTo>
                        <a:pt x="364" y="672"/>
                      </a:lnTo>
                      <a:lnTo>
                        <a:pt x="360" y="676"/>
                      </a:lnTo>
                      <a:lnTo>
                        <a:pt x="360" y="676"/>
                      </a:lnTo>
                      <a:lnTo>
                        <a:pt x="358" y="682"/>
                      </a:lnTo>
                      <a:lnTo>
                        <a:pt x="358" y="686"/>
                      </a:lnTo>
                      <a:lnTo>
                        <a:pt x="358" y="686"/>
                      </a:lnTo>
                      <a:lnTo>
                        <a:pt x="346" y="692"/>
                      </a:lnTo>
                      <a:lnTo>
                        <a:pt x="338" y="698"/>
                      </a:lnTo>
                      <a:lnTo>
                        <a:pt x="338" y="698"/>
                      </a:lnTo>
                      <a:lnTo>
                        <a:pt x="334" y="696"/>
                      </a:lnTo>
                      <a:lnTo>
                        <a:pt x="334" y="696"/>
                      </a:lnTo>
                      <a:lnTo>
                        <a:pt x="336" y="652"/>
                      </a:lnTo>
                      <a:lnTo>
                        <a:pt x="338" y="592"/>
                      </a:lnTo>
                      <a:lnTo>
                        <a:pt x="336" y="524"/>
                      </a:lnTo>
                      <a:lnTo>
                        <a:pt x="334" y="488"/>
                      </a:lnTo>
                      <a:lnTo>
                        <a:pt x="330" y="454"/>
                      </a:lnTo>
                      <a:lnTo>
                        <a:pt x="330" y="454"/>
                      </a:lnTo>
                      <a:lnTo>
                        <a:pt x="322" y="412"/>
                      </a:lnTo>
                      <a:lnTo>
                        <a:pt x="314" y="372"/>
                      </a:lnTo>
                      <a:lnTo>
                        <a:pt x="304" y="334"/>
                      </a:lnTo>
                      <a:lnTo>
                        <a:pt x="292" y="298"/>
                      </a:lnTo>
                      <a:lnTo>
                        <a:pt x="278" y="264"/>
                      </a:lnTo>
                      <a:lnTo>
                        <a:pt x="262" y="230"/>
                      </a:lnTo>
                      <a:lnTo>
                        <a:pt x="244" y="196"/>
                      </a:lnTo>
                      <a:lnTo>
                        <a:pt x="224" y="164"/>
                      </a:lnTo>
                      <a:lnTo>
                        <a:pt x="224" y="164"/>
                      </a:lnTo>
                      <a:lnTo>
                        <a:pt x="202" y="132"/>
                      </a:lnTo>
                      <a:lnTo>
                        <a:pt x="182" y="106"/>
                      </a:lnTo>
                      <a:lnTo>
                        <a:pt x="160" y="84"/>
                      </a:lnTo>
                      <a:lnTo>
                        <a:pt x="142" y="68"/>
                      </a:lnTo>
                      <a:lnTo>
                        <a:pt x="114" y="44"/>
                      </a:lnTo>
                      <a:lnTo>
                        <a:pt x="102" y="36"/>
                      </a:lnTo>
                      <a:lnTo>
                        <a:pt x="62" y="14"/>
                      </a:lnTo>
                      <a:lnTo>
                        <a:pt x="20" y="0"/>
                      </a:lnTo>
                      <a:lnTo>
                        <a:pt x="0" y="2"/>
                      </a:lnTo>
                      <a:lnTo>
                        <a:pt x="0" y="598"/>
                      </a:lnTo>
                      <a:lnTo>
                        <a:pt x="26" y="612"/>
                      </a:lnTo>
                      <a:lnTo>
                        <a:pt x="64" y="640"/>
                      </a:lnTo>
                      <a:lnTo>
                        <a:pt x="88" y="658"/>
                      </a:lnTo>
                      <a:lnTo>
                        <a:pt x="88" y="660"/>
                      </a:lnTo>
                      <a:lnTo>
                        <a:pt x="88" y="660"/>
                      </a:lnTo>
                      <a:lnTo>
                        <a:pt x="42" y="658"/>
                      </a:lnTo>
                      <a:lnTo>
                        <a:pt x="20" y="660"/>
                      </a:lnTo>
                      <a:lnTo>
                        <a:pt x="0" y="662"/>
                      </a:lnTo>
                      <a:lnTo>
                        <a:pt x="0" y="1086"/>
                      </a:lnTo>
                      <a:lnTo>
                        <a:pt x="0" y="1086"/>
                      </a:lnTo>
                      <a:lnTo>
                        <a:pt x="16" y="1072"/>
                      </a:lnTo>
                      <a:lnTo>
                        <a:pt x="16" y="1072"/>
                      </a:lnTo>
                      <a:lnTo>
                        <a:pt x="52" y="1030"/>
                      </a:lnTo>
                      <a:lnTo>
                        <a:pt x="112" y="962"/>
                      </a:lnTo>
                      <a:lnTo>
                        <a:pt x="144" y="926"/>
                      </a:lnTo>
                      <a:lnTo>
                        <a:pt x="172" y="898"/>
                      </a:lnTo>
                      <a:lnTo>
                        <a:pt x="192" y="878"/>
                      </a:lnTo>
                      <a:lnTo>
                        <a:pt x="200" y="874"/>
                      </a:lnTo>
                      <a:lnTo>
                        <a:pt x="204" y="872"/>
                      </a:lnTo>
                      <a:lnTo>
                        <a:pt x="204" y="872"/>
                      </a:lnTo>
                      <a:lnTo>
                        <a:pt x="208" y="874"/>
                      </a:lnTo>
                      <a:lnTo>
                        <a:pt x="212" y="874"/>
                      </a:lnTo>
                      <a:lnTo>
                        <a:pt x="224" y="872"/>
                      </a:lnTo>
                      <a:lnTo>
                        <a:pt x="238" y="866"/>
                      </a:lnTo>
                      <a:lnTo>
                        <a:pt x="252" y="860"/>
                      </a:lnTo>
                      <a:lnTo>
                        <a:pt x="226" y="896"/>
                      </a:lnTo>
                      <a:lnTo>
                        <a:pt x="218" y="910"/>
                      </a:lnTo>
                      <a:lnTo>
                        <a:pt x="202" y="924"/>
                      </a:lnTo>
                      <a:lnTo>
                        <a:pt x="186" y="950"/>
                      </a:lnTo>
                      <a:lnTo>
                        <a:pt x="182" y="958"/>
                      </a:lnTo>
                      <a:lnTo>
                        <a:pt x="158" y="998"/>
                      </a:lnTo>
                      <a:lnTo>
                        <a:pt x="162" y="1004"/>
                      </a:lnTo>
                      <a:lnTo>
                        <a:pt x="160" y="1010"/>
                      </a:lnTo>
                      <a:lnTo>
                        <a:pt x="150" y="1012"/>
                      </a:lnTo>
                      <a:lnTo>
                        <a:pt x="140" y="1032"/>
                      </a:lnTo>
                      <a:lnTo>
                        <a:pt x="122" y="1062"/>
                      </a:lnTo>
                      <a:lnTo>
                        <a:pt x="120" y="1094"/>
                      </a:lnTo>
                      <a:lnTo>
                        <a:pt x="128" y="1120"/>
                      </a:lnTo>
                      <a:lnTo>
                        <a:pt x="142" y="1104"/>
                      </a:lnTo>
                      <a:lnTo>
                        <a:pt x="134" y="1124"/>
                      </a:lnTo>
                      <a:lnTo>
                        <a:pt x="162" y="1118"/>
                      </a:lnTo>
                      <a:lnTo>
                        <a:pt x="188" y="1100"/>
                      </a:lnTo>
                      <a:lnTo>
                        <a:pt x="206" y="1070"/>
                      </a:lnTo>
                      <a:lnTo>
                        <a:pt x="218" y="1052"/>
                      </a:lnTo>
                      <a:lnTo>
                        <a:pt x="216" y="1042"/>
                      </a:lnTo>
                      <a:lnTo>
                        <a:pt x="220" y="1036"/>
                      </a:lnTo>
                      <a:lnTo>
                        <a:pt x="228" y="1038"/>
                      </a:lnTo>
                      <a:lnTo>
                        <a:pt x="250" y="998"/>
                      </a:lnTo>
                      <a:lnTo>
                        <a:pt x="254" y="992"/>
                      </a:lnTo>
                      <a:lnTo>
                        <a:pt x="272" y="964"/>
                      </a:lnTo>
                      <a:lnTo>
                        <a:pt x="276" y="942"/>
                      </a:lnTo>
                      <a:lnTo>
                        <a:pt x="284" y="930"/>
                      </a:lnTo>
                      <a:lnTo>
                        <a:pt x="302" y="890"/>
                      </a:lnTo>
                      <a:lnTo>
                        <a:pt x="302" y="890"/>
                      </a:lnTo>
                      <a:lnTo>
                        <a:pt x="304" y="906"/>
                      </a:lnTo>
                      <a:lnTo>
                        <a:pt x="306" y="920"/>
                      </a:lnTo>
                      <a:lnTo>
                        <a:pt x="310" y="932"/>
                      </a:lnTo>
                      <a:lnTo>
                        <a:pt x="312" y="936"/>
                      </a:lnTo>
                      <a:lnTo>
                        <a:pt x="314" y="938"/>
                      </a:lnTo>
                      <a:lnTo>
                        <a:pt x="314" y="938"/>
                      </a:lnTo>
                      <a:lnTo>
                        <a:pt x="316" y="942"/>
                      </a:lnTo>
                      <a:lnTo>
                        <a:pt x="316" y="952"/>
                      </a:lnTo>
                      <a:lnTo>
                        <a:pt x="308" y="980"/>
                      </a:lnTo>
                      <a:lnTo>
                        <a:pt x="296" y="1018"/>
                      </a:lnTo>
                      <a:lnTo>
                        <a:pt x="282" y="1062"/>
                      </a:lnTo>
                      <a:lnTo>
                        <a:pt x="250" y="1148"/>
                      </a:lnTo>
                      <a:lnTo>
                        <a:pt x="230" y="1198"/>
                      </a:lnTo>
                      <a:lnTo>
                        <a:pt x="230" y="1198"/>
                      </a:lnTo>
                      <a:lnTo>
                        <a:pt x="228" y="1208"/>
                      </a:lnTo>
                      <a:lnTo>
                        <a:pt x="226" y="1220"/>
                      </a:lnTo>
                      <a:lnTo>
                        <a:pt x="224" y="1250"/>
                      </a:lnTo>
                      <a:lnTo>
                        <a:pt x="224" y="1278"/>
                      </a:lnTo>
                      <a:lnTo>
                        <a:pt x="224" y="1304"/>
                      </a:lnTo>
                      <a:lnTo>
                        <a:pt x="224" y="1304"/>
                      </a:lnTo>
                      <a:lnTo>
                        <a:pt x="228" y="1324"/>
                      </a:lnTo>
                      <a:lnTo>
                        <a:pt x="232" y="1342"/>
                      </a:lnTo>
                      <a:lnTo>
                        <a:pt x="236" y="1362"/>
                      </a:lnTo>
                      <a:lnTo>
                        <a:pt x="236" y="1362"/>
                      </a:lnTo>
                      <a:lnTo>
                        <a:pt x="238" y="1380"/>
                      </a:lnTo>
                      <a:lnTo>
                        <a:pt x="240" y="1394"/>
                      </a:lnTo>
                      <a:lnTo>
                        <a:pt x="242" y="1400"/>
                      </a:lnTo>
                      <a:lnTo>
                        <a:pt x="246" y="1404"/>
                      </a:lnTo>
                      <a:lnTo>
                        <a:pt x="246" y="1404"/>
                      </a:lnTo>
                      <a:lnTo>
                        <a:pt x="252" y="1412"/>
                      </a:lnTo>
                      <a:lnTo>
                        <a:pt x="254" y="1420"/>
                      </a:lnTo>
                      <a:lnTo>
                        <a:pt x="258" y="1432"/>
                      </a:lnTo>
                      <a:lnTo>
                        <a:pt x="244" y="1448"/>
                      </a:lnTo>
                      <a:lnTo>
                        <a:pt x="258" y="1516"/>
                      </a:lnTo>
                      <a:lnTo>
                        <a:pt x="304" y="1516"/>
                      </a:lnTo>
                      <a:lnTo>
                        <a:pt x="304" y="1516"/>
                      </a:lnTo>
                      <a:lnTo>
                        <a:pt x="310" y="1496"/>
                      </a:lnTo>
                      <a:lnTo>
                        <a:pt x="310" y="1496"/>
                      </a:lnTo>
                      <a:lnTo>
                        <a:pt x="314" y="1482"/>
                      </a:lnTo>
                      <a:lnTo>
                        <a:pt x="314" y="1470"/>
                      </a:lnTo>
                      <a:lnTo>
                        <a:pt x="314" y="1458"/>
                      </a:lnTo>
                      <a:lnTo>
                        <a:pt x="314" y="1458"/>
                      </a:lnTo>
                      <a:lnTo>
                        <a:pt x="314" y="1452"/>
                      </a:lnTo>
                      <a:lnTo>
                        <a:pt x="312" y="1440"/>
                      </a:lnTo>
                      <a:lnTo>
                        <a:pt x="310" y="1418"/>
                      </a:lnTo>
                      <a:lnTo>
                        <a:pt x="300" y="1390"/>
                      </a:lnTo>
                      <a:lnTo>
                        <a:pt x="300" y="1390"/>
                      </a:lnTo>
                      <a:lnTo>
                        <a:pt x="298" y="1372"/>
                      </a:lnTo>
                      <a:lnTo>
                        <a:pt x="298" y="1356"/>
                      </a:lnTo>
                      <a:lnTo>
                        <a:pt x="300" y="1338"/>
                      </a:lnTo>
                      <a:lnTo>
                        <a:pt x="306" y="1322"/>
                      </a:lnTo>
                      <a:lnTo>
                        <a:pt x="316" y="1298"/>
                      </a:lnTo>
                      <a:lnTo>
                        <a:pt x="320" y="1290"/>
                      </a:lnTo>
                      <a:lnTo>
                        <a:pt x="320" y="1290"/>
                      </a:lnTo>
                      <a:lnTo>
                        <a:pt x="326" y="1280"/>
                      </a:lnTo>
                      <a:lnTo>
                        <a:pt x="342" y="1262"/>
                      </a:lnTo>
                      <a:lnTo>
                        <a:pt x="350" y="1252"/>
                      </a:lnTo>
                      <a:lnTo>
                        <a:pt x="360" y="1246"/>
                      </a:lnTo>
                      <a:lnTo>
                        <a:pt x="368" y="1242"/>
                      </a:lnTo>
                      <a:lnTo>
                        <a:pt x="374" y="1240"/>
                      </a:lnTo>
                      <a:lnTo>
                        <a:pt x="378" y="1242"/>
                      </a:lnTo>
                      <a:lnTo>
                        <a:pt x="378" y="1242"/>
                      </a:lnTo>
                      <a:lnTo>
                        <a:pt x="386" y="1244"/>
                      </a:lnTo>
                      <a:lnTo>
                        <a:pt x="394" y="1242"/>
                      </a:lnTo>
                      <a:lnTo>
                        <a:pt x="404" y="1240"/>
                      </a:lnTo>
                      <a:lnTo>
                        <a:pt x="412" y="1236"/>
                      </a:lnTo>
                      <a:lnTo>
                        <a:pt x="426" y="1228"/>
                      </a:lnTo>
                      <a:lnTo>
                        <a:pt x="430" y="1224"/>
                      </a:lnTo>
                      <a:lnTo>
                        <a:pt x="430" y="1224"/>
                      </a:lnTo>
                      <a:lnTo>
                        <a:pt x="432" y="1220"/>
                      </a:lnTo>
                      <a:lnTo>
                        <a:pt x="436" y="1216"/>
                      </a:lnTo>
                      <a:lnTo>
                        <a:pt x="440" y="1210"/>
                      </a:lnTo>
                      <a:lnTo>
                        <a:pt x="446" y="1206"/>
                      </a:lnTo>
                      <a:lnTo>
                        <a:pt x="454" y="1204"/>
                      </a:lnTo>
                      <a:lnTo>
                        <a:pt x="466" y="1202"/>
                      </a:lnTo>
                      <a:lnTo>
                        <a:pt x="480" y="1202"/>
                      </a:lnTo>
                      <a:lnTo>
                        <a:pt x="480" y="1202"/>
                      </a:lnTo>
                      <a:lnTo>
                        <a:pt x="488" y="1204"/>
                      </a:lnTo>
                      <a:lnTo>
                        <a:pt x="496" y="1202"/>
                      </a:lnTo>
                      <a:lnTo>
                        <a:pt x="514" y="1196"/>
                      </a:lnTo>
                      <a:lnTo>
                        <a:pt x="534" y="1186"/>
                      </a:lnTo>
                      <a:lnTo>
                        <a:pt x="554" y="1172"/>
                      </a:lnTo>
                      <a:lnTo>
                        <a:pt x="586" y="1148"/>
                      </a:lnTo>
                      <a:lnTo>
                        <a:pt x="598" y="1136"/>
                      </a:lnTo>
                      <a:lnTo>
                        <a:pt x="616" y="1120"/>
                      </a:lnTo>
                      <a:lnTo>
                        <a:pt x="616" y="1120"/>
                      </a:lnTo>
                      <a:lnTo>
                        <a:pt x="620" y="1120"/>
                      </a:lnTo>
                      <a:lnTo>
                        <a:pt x="622" y="1120"/>
                      </a:lnTo>
                      <a:lnTo>
                        <a:pt x="624" y="1116"/>
                      </a:lnTo>
                      <a:lnTo>
                        <a:pt x="624" y="1104"/>
                      </a:lnTo>
                      <a:lnTo>
                        <a:pt x="620" y="1086"/>
                      </a:lnTo>
                      <a:lnTo>
                        <a:pt x="612" y="1058"/>
                      </a:lnTo>
                      <a:lnTo>
                        <a:pt x="598" y="1018"/>
                      </a:lnTo>
                      <a:lnTo>
                        <a:pt x="598" y="1018"/>
                      </a:lnTo>
                      <a:lnTo>
                        <a:pt x="590" y="998"/>
                      </a:lnTo>
                      <a:lnTo>
                        <a:pt x="580" y="978"/>
                      </a:lnTo>
                      <a:lnTo>
                        <a:pt x="558" y="938"/>
                      </a:lnTo>
                      <a:lnTo>
                        <a:pt x="558" y="938"/>
                      </a:lnTo>
                      <a:lnTo>
                        <a:pt x="586" y="948"/>
                      </a:lnTo>
                      <a:lnTo>
                        <a:pt x="628" y="970"/>
                      </a:lnTo>
                      <a:lnTo>
                        <a:pt x="658" y="986"/>
                      </a:lnTo>
                      <a:lnTo>
                        <a:pt x="688" y="1006"/>
                      </a:lnTo>
                      <a:lnTo>
                        <a:pt x="722" y="1020"/>
                      </a:lnTo>
                      <a:lnTo>
                        <a:pt x="722" y="1020"/>
                      </a:lnTo>
                      <a:lnTo>
                        <a:pt x="738" y="1022"/>
                      </a:lnTo>
                      <a:lnTo>
                        <a:pt x="750" y="1022"/>
                      </a:lnTo>
                      <a:lnTo>
                        <a:pt x="760" y="1020"/>
                      </a:lnTo>
                      <a:lnTo>
                        <a:pt x="760" y="1020"/>
                      </a:lnTo>
                      <a:lnTo>
                        <a:pt x="776" y="1012"/>
                      </a:lnTo>
                      <a:lnTo>
                        <a:pt x="802" y="1000"/>
                      </a:lnTo>
                      <a:lnTo>
                        <a:pt x="802" y="1000"/>
                      </a:lnTo>
                      <a:lnTo>
                        <a:pt x="818" y="992"/>
                      </a:lnTo>
                      <a:lnTo>
                        <a:pt x="830" y="986"/>
                      </a:lnTo>
                      <a:lnTo>
                        <a:pt x="836" y="980"/>
                      </a:lnTo>
                      <a:lnTo>
                        <a:pt x="836" y="980"/>
                      </a:lnTo>
                      <a:lnTo>
                        <a:pt x="846" y="972"/>
                      </a:lnTo>
                      <a:lnTo>
                        <a:pt x="852" y="966"/>
                      </a:lnTo>
                      <a:lnTo>
                        <a:pt x="858" y="962"/>
                      </a:lnTo>
                      <a:lnTo>
                        <a:pt x="858" y="962"/>
                      </a:lnTo>
                      <a:lnTo>
                        <a:pt x="868" y="960"/>
                      </a:lnTo>
                      <a:lnTo>
                        <a:pt x="880" y="952"/>
                      </a:lnTo>
                      <a:lnTo>
                        <a:pt x="890" y="942"/>
                      </a:lnTo>
                      <a:lnTo>
                        <a:pt x="894" y="936"/>
                      </a:lnTo>
                      <a:lnTo>
                        <a:pt x="894" y="930"/>
                      </a:lnTo>
                      <a:lnTo>
                        <a:pt x="894" y="930"/>
                      </a:lnTo>
                      <a:lnTo>
                        <a:pt x="896" y="926"/>
                      </a:lnTo>
                      <a:lnTo>
                        <a:pt x="898" y="922"/>
                      </a:lnTo>
                      <a:lnTo>
                        <a:pt x="904" y="916"/>
                      </a:lnTo>
                      <a:lnTo>
                        <a:pt x="914" y="910"/>
                      </a:lnTo>
                      <a:lnTo>
                        <a:pt x="914" y="910"/>
                      </a:lnTo>
                      <a:lnTo>
                        <a:pt x="924" y="908"/>
                      </a:lnTo>
                      <a:lnTo>
                        <a:pt x="932" y="904"/>
                      </a:lnTo>
                      <a:lnTo>
                        <a:pt x="934" y="902"/>
                      </a:lnTo>
                      <a:lnTo>
                        <a:pt x="934" y="900"/>
                      </a:lnTo>
                      <a:lnTo>
                        <a:pt x="934" y="900"/>
                      </a:lnTo>
                      <a:lnTo>
                        <a:pt x="934" y="896"/>
                      </a:lnTo>
                      <a:lnTo>
                        <a:pt x="936" y="892"/>
                      </a:lnTo>
                      <a:lnTo>
                        <a:pt x="944" y="882"/>
                      </a:lnTo>
                      <a:lnTo>
                        <a:pt x="956" y="868"/>
                      </a:lnTo>
                      <a:lnTo>
                        <a:pt x="956" y="868"/>
                      </a:lnTo>
                      <a:lnTo>
                        <a:pt x="972" y="862"/>
                      </a:lnTo>
                      <a:lnTo>
                        <a:pt x="984" y="858"/>
                      </a:lnTo>
                      <a:lnTo>
                        <a:pt x="990" y="854"/>
                      </a:lnTo>
                      <a:lnTo>
                        <a:pt x="990" y="854"/>
                      </a:lnTo>
                      <a:lnTo>
                        <a:pt x="996" y="848"/>
                      </a:lnTo>
                      <a:lnTo>
                        <a:pt x="1006" y="842"/>
                      </a:lnTo>
                      <a:lnTo>
                        <a:pt x="1020" y="838"/>
                      </a:lnTo>
                      <a:lnTo>
                        <a:pt x="1032" y="836"/>
                      </a:lnTo>
                      <a:lnTo>
                        <a:pt x="1032" y="836"/>
                      </a:lnTo>
                      <a:lnTo>
                        <a:pt x="1044" y="836"/>
                      </a:lnTo>
                      <a:lnTo>
                        <a:pt x="1054" y="832"/>
                      </a:lnTo>
                      <a:lnTo>
                        <a:pt x="1064" y="826"/>
                      </a:lnTo>
                      <a:lnTo>
                        <a:pt x="1064" y="826"/>
                      </a:lnTo>
                      <a:lnTo>
                        <a:pt x="1072" y="820"/>
                      </a:lnTo>
                      <a:lnTo>
                        <a:pt x="1080" y="816"/>
                      </a:lnTo>
                      <a:lnTo>
                        <a:pt x="1086" y="814"/>
                      </a:lnTo>
                      <a:lnTo>
                        <a:pt x="1086" y="814"/>
                      </a:lnTo>
                      <a:lnTo>
                        <a:pt x="1096" y="812"/>
                      </a:lnTo>
                      <a:lnTo>
                        <a:pt x="1106" y="808"/>
                      </a:lnTo>
                      <a:lnTo>
                        <a:pt x="1118" y="802"/>
                      </a:lnTo>
                      <a:lnTo>
                        <a:pt x="1148" y="782"/>
                      </a:lnTo>
                      <a:lnTo>
                        <a:pt x="1168" y="760"/>
                      </a:lnTo>
                      <a:lnTo>
                        <a:pt x="1180" y="738"/>
                      </a:lnTo>
                      <a:lnTo>
                        <a:pt x="1182" y="712"/>
                      </a:lnTo>
                      <a:lnTo>
                        <a:pt x="1168" y="680"/>
                      </a:lnTo>
                      <a:lnTo>
                        <a:pt x="1136" y="650"/>
                      </a:lnTo>
                      <a:close/>
                      <a:moveTo>
                        <a:pt x="390" y="678"/>
                      </a:moveTo>
                      <a:lnTo>
                        <a:pt x="390" y="680"/>
                      </a:lnTo>
                      <a:lnTo>
                        <a:pt x="390" y="678"/>
                      </a:lnTo>
                      <a:lnTo>
                        <a:pt x="390" y="678"/>
                      </a:lnTo>
                      <a:lnTo>
                        <a:pt x="390" y="678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6000"/>
                  </a:schemeClr>
                </a:solidFill>
                <a:ln w="9525">
                  <a:solidFill>
                    <a:schemeClr val="tx2">
                      <a:lumMod val="60000"/>
                      <a:lumOff val="40000"/>
                      <a:alpha val="9000"/>
                    </a:schemeClr>
                  </a:solidFill>
                  <a:round/>
                  <a:headEnd/>
                  <a:tailEnd/>
                </a:ln>
                <a:effectLst>
                  <a:glow rad="63500">
                    <a:schemeClr val="bg2">
                      <a:lumMod val="60000"/>
                      <a:lumOff val="40000"/>
                      <a:alpha val="11000"/>
                    </a:schemeClr>
                  </a:glow>
                  <a:softEdge rad="12700"/>
                </a:effectLst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4" name="Group 92"/>
              <p:cNvGrpSpPr>
                <a:grpSpLocks noChangeAspect="1"/>
              </p:cNvGrpSpPr>
              <p:nvPr/>
            </p:nvGrpSpPr>
            <p:grpSpPr>
              <a:xfrm>
                <a:off x="4" y="2846361"/>
                <a:ext cx="930494" cy="1301751"/>
                <a:chOff x="5073650" y="2381609"/>
                <a:chExt cx="1257300" cy="1758950"/>
              </a:xfrm>
              <a:solidFill>
                <a:schemeClr val="bg2">
                  <a:lumMod val="50000"/>
                  <a:lumOff val="50000"/>
                  <a:alpha val="8000"/>
                </a:schemeClr>
              </a:solidFill>
              <a:effectLst/>
            </p:grpSpPr>
            <p:sp>
              <p:nvSpPr>
                <p:cNvPr id="200" name="Freeform 49"/>
                <p:cNvSpPr>
                  <a:spLocks/>
                </p:cNvSpPr>
                <p:nvPr/>
              </p:nvSpPr>
              <p:spPr bwMode="auto">
                <a:xfrm>
                  <a:off x="5073650" y="3192463"/>
                  <a:ext cx="114300" cy="177800"/>
                </a:xfrm>
                <a:custGeom>
                  <a:avLst/>
                  <a:gdLst>
                    <a:gd name="T0" fmla="*/ 70 w 72"/>
                    <a:gd name="T1" fmla="*/ 112 h 112"/>
                    <a:gd name="T2" fmla="*/ 70 w 72"/>
                    <a:gd name="T3" fmla="*/ 112 h 112"/>
                    <a:gd name="T4" fmla="*/ 72 w 72"/>
                    <a:gd name="T5" fmla="*/ 110 h 112"/>
                    <a:gd name="T6" fmla="*/ 72 w 72"/>
                    <a:gd name="T7" fmla="*/ 110 h 112"/>
                    <a:gd name="T8" fmla="*/ 64 w 72"/>
                    <a:gd name="T9" fmla="*/ 96 h 112"/>
                    <a:gd name="T10" fmla="*/ 8 w 72"/>
                    <a:gd name="T11" fmla="*/ 10 h 112"/>
                    <a:gd name="T12" fmla="*/ 8 w 72"/>
                    <a:gd name="T13" fmla="*/ 10 h 112"/>
                    <a:gd name="T14" fmla="*/ 2 w 72"/>
                    <a:gd name="T15" fmla="*/ 2 h 112"/>
                    <a:gd name="T16" fmla="*/ 0 w 72"/>
                    <a:gd name="T17" fmla="*/ 0 h 112"/>
                    <a:gd name="T18" fmla="*/ 0 w 72"/>
                    <a:gd name="T19" fmla="*/ 2 h 112"/>
                    <a:gd name="T20" fmla="*/ 0 w 72"/>
                    <a:gd name="T21" fmla="*/ 2 h 112"/>
                    <a:gd name="T22" fmla="*/ 2 w 72"/>
                    <a:gd name="T23" fmla="*/ 10 h 112"/>
                    <a:gd name="T24" fmla="*/ 8 w 72"/>
                    <a:gd name="T25" fmla="*/ 22 h 112"/>
                    <a:gd name="T26" fmla="*/ 60 w 72"/>
                    <a:gd name="T27" fmla="*/ 98 h 112"/>
                    <a:gd name="T28" fmla="*/ 60 w 72"/>
                    <a:gd name="T29" fmla="*/ 98 h 112"/>
                    <a:gd name="T30" fmla="*/ 66 w 72"/>
                    <a:gd name="T31" fmla="*/ 108 h 112"/>
                    <a:gd name="T32" fmla="*/ 70 w 72"/>
                    <a:gd name="T33" fmla="*/ 112 h 112"/>
                    <a:gd name="T34" fmla="*/ 70 w 72"/>
                    <a:gd name="T35" fmla="*/ 112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2" h="112">
                      <a:moveTo>
                        <a:pt x="70" y="112"/>
                      </a:moveTo>
                      <a:lnTo>
                        <a:pt x="70" y="112"/>
                      </a:lnTo>
                      <a:lnTo>
                        <a:pt x="72" y="110"/>
                      </a:lnTo>
                      <a:lnTo>
                        <a:pt x="72" y="110"/>
                      </a:lnTo>
                      <a:lnTo>
                        <a:pt x="64" y="96"/>
                      </a:lnTo>
                      <a:lnTo>
                        <a:pt x="8" y="10"/>
                      </a:lnTo>
                      <a:lnTo>
                        <a:pt x="8" y="10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10"/>
                      </a:lnTo>
                      <a:lnTo>
                        <a:pt x="8" y="22"/>
                      </a:lnTo>
                      <a:lnTo>
                        <a:pt x="60" y="98"/>
                      </a:lnTo>
                      <a:lnTo>
                        <a:pt x="60" y="98"/>
                      </a:lnTo>
                      <a:lnTo>
                        <a:pt x="66" y="108"/>
                      </a:lnTo>
                      <a:lnTo>
                        <a:pt x="70" y="112"/>
                      </a:lnTo>
                      <a:lnTo>
                        <a:pt x="70" y="1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1" name="Freeform 50"/>
                <p:cNvSpPr>
                  <a:spLocks/>
                </p:cNvSpPr>
                <p:nvPr/>
              </p:nvSpPr>
              <p:spPr bwMode="auto">
                <a:xfrm>
                  <a:off x="5191125" y="3379788"/>
                  <a:ext cx="0" cy="3175"/>
                </a:xfrm>
                <a:custGeom>
                  <a:avLst/>
                  <a:gdLst>
                    <a:gd name="T0" fmla="*/ 0 h 2"/>
                    <a:gd name="T1" fmla="*/ 0 h 2"/>
                    <a:gd name="T2" fmla="*/ 2 h 2"/>
                    <a:gd name="T3" fmla="*/ 2 h 2"/>
                    <a:gd name="T4" fmla="*/ 0 h 2"/>
                    <a:gd name="T5" fmla="*/ 0 h 2"/>
                    <a:gd name="T6" fmla="*/ 0 h 2"/>
                    <a:gd name="T7" fmla="*/ 0 h 2"/>
                    <a:gd name="T8" fmla="*/ 0 h 2"/>
                    <a:gd name="T9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2" name="Freeform 51"/>
                <p:cNvSpPr>
                  <a:spLocks/>
                </p:cNvSpPr>
                <p:nvPr/>
              </p:nvSpPr>
              <p:spPr bwMode="auto">
                <a:xfrm>
                  <a:off x="5210175" y="2935288"/>
                  <a:ext cx="292100" cy="434975"/>
                </a:xfrm>
                <a:custGeom>
                  <a:avLst/>
                  <a:gdLst>
                    <a:gd name="T0" fmla="*/ 2 w 184"/>
                    <a:gd name="T1" fmla="*/ 274 h 274"/>
                    <a:gd name="T2" fmla="*/ 2 w 184"/>
                    <a:gd name="T3" fmla="*/ 274 h 274"/>
                    <a:gd name="T4" fmla="*/ 12 w 184"/>
                    <a:gd name="T5" fmla="*/ 260 h 274"/>
                    <a:gd name="T6" fmla="*/ 160 w 184"/>
                    <a:gd name="T7" fmla="*/ 36 h 274"/>
                    <a:gd name="T8" fmla="*/ 160 w 184"/>
                    <a:gd name="T9" fmla="*/ 36 h 274"/>
                    <a:gd name="T10" fmla="*/ 168 w 184"/>
                    <a:gd name="T11" fmla="*/ 26 h 274"/>
                    <a:gd name="T12" fmla="*/ 176 w 184"/>
                    <a:gd name="T13" fmla="*/ 18 h 274"/>
                    <a:gd name="T14" fmla="*/ 176 w 184"/>
                    <a:gd name="T15" fmla="*/ 18 h 274"/>
                    <a:gd name="T16" fmla="*/ 182 w 184"/>
                    <a:gd name="T17" fmla="*/ 12 h 274"/>
                    <a:gd name="T18" fmla="*/ 184 w 184"/>
                    <a:gd name="T19" fmla="*/ 4 h 274"/>
                    <a:gd name="T20" fmla="*/ 184 w 184"/>
                    <a:gd name="T21" fmla="*/ 4 h 274"/>
                    <a:gd name="T22" fmla="*/ 184 w 184"/>
                    <a:gd name="T23" fmla="*/ 2 h 274"/>
                    <a:gd name="T24" fmla="*/ 182 w 184"/>
                    <a:gd name="T25" fmla="*/ 0 h 274"/>
                    <a:gd name="T26" fmla="*/ 180 w 184"/>
                    <a:gd name="T27" fmla="*/ 0 h 274"/>
                    <a:gd name="T28" fmla="*/ 176 w 184"/>
                    <a:gd name="T29" fmla="*/ 2 h 274"/>
                    <a:gd name="T30" fmla="*/ 176 w 184"/>
                    <a:gd name="T31" fmla="*/ 2 h 274"/>
                    <a:gd name="T32" fmla="*/ 168 w 184"/>
                    <a:gd name="T33" fmla="*/ 10 h 274"/>
                    <a:gd name="T34" fmla="*/ 160 w 184"/>
                    <a:gd name="T35" fmla="*/ 20 h 274"/>
                    <a:gd name="T36" fmla="*/ 160 w 184"/>
                    <a:gd name="T37" fmla="*/ 20 h 274"/>
                    <a:gd name="T38" fmla="*/ 144 w 184"/>
                    <a:gd name="T39" fmla="*/ 44 h 274"/>
                    <a:gd name="T40" fmla="*/ 8 w 184"/>
                    <a:gd name="T41" fmla="*/ 258 h 274"/>
                    <a:gd name="T42" fmla="*/ 8 w 184"/>
                    <a:gd name="T43" fmla="*/ 258 h 274"/>
                    <a:gd name="T44" fmla="*/ 0 w 184"/>
                    <a:gd name="T45" fmla="*/ 272 h 274"/>
                    <a:gd name="T46" fmla="*/ 0 w 184"/>
                    <a:gd name="T47" fmla="*/ 272 h 274"/>
                    <a:gd name="T48" fmla="*/ 0 w 184"/>
                    <a:gd name="T49" fmla="*/ 274 h 274"/>
                    <a:gd name="T50" fmla="*/ 0 w 184"/>
                    <a:gd name="T51" fmla="*/ 274 h 274"/>
                    <a:gd name="T52" fmla="*/ 2 w 184"/>
                    <a:gd name="T53" fmla="*/ 274 h 274"/>
                    <a:gd name="T54" fmla="*/ 2 w 184"/>
                    <a:gd name="T55" fmla="*/ 274 h 2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84" h="274">
                      <a:moveTo>
                        <a:pt x="2" y="274"/>
                      </a:moveTo>
                      <a:lnTo>
                        <a:pt x="2" y="274"/>
                      </a:lnTo>
                      <a:lnTo>
                        <a:pt x="12" y="260"/>
                      </a:lnTo>
                      <a:lnTo>
                        <a:pt x="160" y="36"/>
                      </a:lnTo>
                      <a:lnTo>
                        <a:pt x="160" y="36"/>
                      </a:lnTo>
                      <a:lnTo>
                        <a:pt x="168" y="26"/>
                      </a:lnTo>
                      <a:lnTo>
                        <a:pt x="176" y="18"/>
                      </a:lnTo>
                      <a:lnTo>
                        <a:pt x="176" y="18"/>
                      </a:lnTo>
                      <a:lnTo>
                        <a:pt x="182" y="12"/>
                      </a:lnTo>
                      <a:lnTo>
                        <a:pt x="184" y="4"/>
                      </a:lnTo>
                      <a:lnTo>
                        <a:pt x="184" y="4"/>
                      </a:lnTo>
                      <a:lnTo>
                        <a:pt x="184" y="2"/>
                      </a:lnTo>
                      <a:lnTo>
                        <a:pt x="182" y="0"/>
                      </a:lnTo>
                      <a:lnTo>
                        <a:pt x="180" y="0"/>
                      </a:lnTo>
                      <a:lnTo>
                        <a:pt x="176" y="2"/>
                      </a:lnTo>
                      <a:lnTo>
                        <a:pt x="176" y="2"/>
                      </a:lnTo>
                      <a:lnTo>
                        <a:pt x="168" y="10"/>
                      </a:lnTo>
                      <a:lnTo>
                        <a:pt x="160" y="20"/>
                      </a:lnTo>
                      <a:lnTo>
                        <a:pt x="160" y="20"/>
                      </a:lnTo>
                      <a:lnTo>
                        <a:pt x="144" y="44"/>
                      </a:lnTo>
                      <a:lnTo>
                        <a:pt x="8" y="258"/>
                      </a:lnTo>
                      <a:lnTo>
                        <a:pt x="8" y="258"/>
                      </a:lnTo>
                      <a:lnTo>
                        <a:pt x="0" y="272"/>
                      </a:lnTo>
                      <a:lnTo>
                        <a:pt x="0" y="272"/>
                      </a:lnTo>
                      <a:lnTo>
                        <a:pt x="0" y="274"/>
                      </a:lnTo>
                      <a:lnTo>
                        <a:pt x="0" y="274"/>
                      </a:lnTo>
                      <a:lnTo>
                        <a:pt x="2" y="274"/>
                      </a:lnTo>
                      <a:lnTo>
                        <a:pt x="2" y="27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3" name="Freeform 52"/>
                <p:cNvSpPr>
                  <a:spLocks noEditPoints="1"/>
                </p:cNvSpPr>
                <p:nvPr/>
              </p:nvSpPr>
              <p:spPr bwMode="auto">
                <a:xfrm>
                  <a:off x="5073650" y="2381609"/>
                  <a:ext cx="1257300" cy="1758950"/>
                </a:xfrm>
                <a:custGeom>
                  <a:avLst/>
                  <a:gdLst>
                    <a:gd name="T0" fmla="*/ 780 w 792"/>
                    <a:gd name="T1" fmla="*/ 16 h 1108"/>
                    <a:gd name="T2" fmla="*/ 752 w 792"/>
                    <a:gd name="T3" fmla="*/ 4 h 1108"/>
                    <a:gd name="T4" fmla="*/ 622 w 792"/>
                    <a:gd name="T5" fmla="*/ 26 h 1108"/>
                    <a:gd name="T6" fmla="*/ 230 w 792"/>
                    <a:gd name="T7" fmla="*/ 382 h 1108"/>
                    <a:gd name="T8" fmla="*/ 118 w 792"/>
                    <a:gd name="T9" fmla="*/ 576 h 1108"/>
                    <a:gd name="T10" fmla="*/ 106 w 792"/>
                    <a:gd name="T11" fmla="*/ 550 h 1108"/>
                    <a:gd name="T12" fmla="*/ 112 w 792"/>
                    <a:gd name="T13" fmla="*/ 538 h 1108"/>
                    <a:gd name="T14" fmla="*/ 94 w 792"/>
                    <a:gd name="T15" fmla="*/ 520 h 1108"/>
                    <a:gd name="T16" fmla="*/ 90 w 792"/>
                    <a:gd name="T17" fmla="*/ 516 h 1108"/>
                    <a:gd name="T18" fmla="*/ 80 w 792"/>
                    <a:gd name="T19" fmla="*/ 512 h 1108"/>
                    <a:gd name="T20" fmla="*/ 72 w 792"/>
                    <a:gd name="T21" fmla="*/ 516 h 1108"/>
                    <a:gd name="T22" fmla="*/ 68 w 792"/>
                    <a:gd name="T23" fmla="*/ 522 h 1108"/>
                    <a:gd name="T24" fmla="*/ 56 w 792"/>
                    <a:gd name="T25" fmla="*/ 522 h 1108"/>
                    <a:gd name="T26" fmla="*/ 44 w 792"/>
                    <a:gd name="T27" fmla="*/ 538 h 1108"/>
                    <a:gd name="T28" fmla="*/ 40 w 792"/>
                    <a:gd name="T29" fmla="*/ 560 h 1108"/>
                    <a:gd name="T30" fmla="*/ 0 w 792"/>
                    <a:gd name="T31" fmla="*/ 900 h 1108"/>
                    <a:gd name="T32" fmla="*/ 46 w 792"/>
                    <a:gd name="T33" fmla="*/ 738 h 1108"/>
                    <a:gd name="T34" fmla="*/ 32 w 792"/>
                    <a:gd name="T35" fmla="*/ 854 h 1108"/>
                    <a:gd name="T36" fmla="*/ 40 w 792"/>
                    <a:gd name="T37" fmla="*/ 950 h 1108"/>
                    <a:gd name="T38" fmla="*/ 32 w 792"/>
                    <a:gd name="T39" fmla="*/ 1026 h 1108"/>
                    <a:gd name="T40" fmla="*/ 80 w 792"/>
                    <a:gd name="T41" fmla="*/ 1078 h 1108"/>
                    <a:gd name="T42" fmla="*/ 120 w 792"/>
                    <a:gd name="T43" fmla="*/ 964 h 1108"/>
                    <a:gd name="T44" fmla="*/ 120 w 792"/>
                    <a:gd name="T45" fmla="*/ 896 h 1108"/>
                    <a:gd name="T46" fmla="*/ 114 w 792"/>
                    <a:gd name="T47" fmla="*/ 814 h 1108"/>
                    <a:gd name="T48" fmla="*/ 108 w 792"/>
                    <a:gd name="T49" fmla="*/ 732 h 1108"/>
                    <a:gd name="T50" fmla="*/ 156 w 792"/>
                    <a:gd name="T51" fmla="*/ 900 h 1108"/>
                    <a:gd name="T52" fmla="*/ 204 w 792"/>
                    <a:gd name="T53" fmla="*/ 1010 h 1108"/>
                    <a:gd name="T54" fmla="*/ 242 w 792"/>
                    <a:gd name="T55" fmla="*/ 1064 h 1108"/>
                    <a:gd name="T56" fmla="*/ 294 w 792"/>
                    <a:gd name="T57" fmla="*/ 1102 h 1108"/>
                    <a:gd name="T58" fmla="*/ 316 w 792"/>
                    <a:gd name="T59" fmla="*/ 1104 h 1108"/>
                    <a:gd name="T60" fmla="*/ 366 w 792"/>
                    <a:gd name="T61" fmla="*/ 1096 h 1108"/>
                    <a:gd name="T62" fmla="*/ 408 w 792"/>
                    <a:gd name="T63" fmla="*/ 1072 h 1108"/>
                    <a:gd name="T64" fmla="*/ 432 w 792"/>
                    <a:gd name="T65" fmla="*/ 1058 h 1108"/>
                    <a:gd name="T66" fmla="*/ 454 w 792"/>
                    <a:gd name="T67" fmla="*/ 1034 h 1108"/>
                    <a:gd name="T68" fmla="*/ 470 w 792"/>
                    <a:gd name="T69" fmla="*/ 1030 h 1108"/>
                    <a:gd name="T70" fmla="*/ 502 w 792"/>
                    <a:gd name="T71" fmla="*/ 1002 h 1108"/>
                    <a:gd name="T72" fmla="*/ 508 w 792"/>
                    <a:gd name="T73" fmla="*/ 988 h 1108"/>
                    <a:gd name="T74" fmla="*/ 534 w 792"/>
                    <a:gd name="T75" fmla="*/ 974 h 1108"/>
                    <a:gd name="T76" fmla="*/ 550 w 792"/>
                    <a:gd name="T77" fmla="*/ 952 h 1108"/>
                    <a:gd name="T78" fmla="*/ 576 w 792"/>
                    <a:gd name="T79" fmla="*/ 860 h 1108"/>
                    <a:gd name="T80" fmla="*/ 580 w 792"/>
                    <a:gd name="T81" fmla="*/ 832 h 1108"/>
                    <a:gd name="T82" fmla="*/ 524 w 792"/>
                    <a:gd name="T83" fmla="*/ 726 h 1108"/>
                    <a:gd name="T84" fmla="*/ 460 w 792"/>
                    <a:gd name="T85" fmla="*/ 674 h 1108"/>
                    <a:gd name="T86" fmla="*/ 564 w 792"/>
                    <a:gd name="T87" fmla="*/ 630 h 1108"/>
                    <a:gd name="T88" fmla="*/ 694 w 792"/>
                    <a:gd name="T89" fmla="*/ 536 h 1108"/>
                    <a:gd name="T90" fmla="*/ 756 w 792"/>
                    <a:gd name="T91" fmla="*/ 300 h 1108"/>
                    <a:gd name="T92" fmla="*/ 74 w 792"/>
                    <a:gd name="T93" fmla="*/ 522 h 1108"/>
                    <a:gd name="T94" fmla="*/ 74 w 792"/>
                    <a:gd name="T95" fmla="*/ 522 h 1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92" h="1108">
                      <a:moveTo>
                        <a:pt x="792" y="30"/>
                      </a:moveTo>
                      <a:lnTo>
                        <a:pt x="792" y="30"/>
                      </a:lnTo>
                      <a:lnTo>
                        <a:pt x="786" y="20"/>
                      </a:lnTo>
                      <a:lnTo>
                        <a:pt x="780" y="16"/>
                      </a:lnTo>
                      <a:lnTo>
                        <a:pt x="774" y="12"/>
                      </a:lnTo>
                      <a:lnTo>
                        <a:pt x="774" y="12"/>
                      </a:lnTo>
                      <a:lnTo>
                        <a:pt x="764" y="6"/>
                      </a:lnTo>
                      <a:lnTo>
                        <a:pt x="752" y="4"/>
                      </a:lnTo>
                      <a:lnTo>
                        <a:pt x="732" y="0"/>
                      </a:lnTo>
                      <a:lnTo>
                        <a:pt x="716" y="0"/>
                      </a:lnTo>
                      <a:lnTo>
                        <a:pt x="710" y="0"/>
                      </a:lnTo>
                      <a:lnTo>
                        <a:pt x="622" y="26"/>
                      </a:lnTo>
                      <a:lnTo>
                        <a:pt x="522" y="78"/>
                      </a:lnTo>
                      <a:lnTo>
                        <a:pt x="418" y="162"/>
                      </a:lnTo>
                      <a:lnTo>
                        <a:pt x="338" y="244"/>
                      </a:lnTo>
                      <a:lnTo>
                        <a:pt x="230" y="382"/>
                      </a:lnTo>
                      <a:lnTo>
                        <a:pt x="166" y="484"/>
                      </a:lnTo>
                      <a:lnTo>
                        <a:pt x="128" y="552"/>
                      </a:lnTo>
                      <a:lnTo>
                        <a:pt x="118" y="576"/>
                      </a:lnTo>
                      <a:lnTo>
                        <a:pt x="118" y="576"/>
                      </a:lnTo>
                      <a:lnTo>
                        <a:pt x="118" y="570"/>
                      </a:lnTo>
                      <a:lnTo>
                        <a:pt x="118" y="570"/>
                      </a:lnTo>
                      <a:lnTo>
                        <a:pt x="114" y="562"/>
                      </a:lnTo>
                      <a:lnTo>
                        <a:pt x="106" y="550"/>
                      </a:lnTo>
                      <a:lnTo>
                        <a:pt x="106" y="550"/>
                      </a:lnTo>
                      <a:lnTo>
                        <a:pt x="110" y="544"/>
                      </a:lnTo>
                      <a:lnTo>
                        <a:pt x="112" y="538"/>
                      </a:lnTo>
                      <a:lnTo>
                        <a:pt x="112" y="538"/>
                      </a:lnTo>
                      <a:lnTo>
                        <a:pt x="110" y="530"/>
                      </a:lnTo>
                      <a:lnTo>
                        <a:pt x="106" y="526"/>
                      </a:lnTo>
                      <a:lnTo>
                        <a:pt x="102" y="522"/>
                      </a:lnTo>
                      <a:lnTo>
                        <a:pt x="94" y="520"/>
                      </a:lnTo>
                      <a:lnTo>
                        <a:pt x="94" y="520"/>
                      </a:lnTo>
                      <a:lnTo>
                        <a:pt x="92" y="520"/>
                      </a:lnTo>
                      <a:lnTo>
                        <a:pt x="94" y="516"/>
                      </a:lnTo>
                      <a:lnTo>
                        <a:pt x="90" y="516"/>
                      </a:lnTo>
                      <a:lnTo>
                        <a:pt x="86" y="516"/>
                      </a:lnTo>
                      <a:lnTo>
                        <a:pt x="86" y="516"/>
                      </a:lnTo>
                      <a:lnTo>
                        <a:pt x="80" y="512"/>
                      </a:lnTo>
                      <a:lnTo>
                        <a:pt x="80" y="512"/>
                      </a:lnTo>
                      <a:lnTo>
                        <a:pt x="80" y="512"/>
                      </a:lnTo>
                      <a:lnTo>
                        <a:pt x="76" y="514"/>
                      </a:lnTo>
                      <a:lnTo>
                        <a:pt x="72" y="512"/>
                      </a:lnTo>
                      <a:lnTo>
                        <a:pt x="72" y="516"/>
                      </a:lnTo>
                      <a:lnTo>
                        <a:pt x="68" y="516"/>
                      </a:lnTo>
                      <a:lnTo>
                        <a:pt x="66" y="516"/>
                      </a:lnTo>
                      <a:lnTo>
                        <a:pt x="68" y="520"/>
                      </a:lnTo>
                      <a:lnTo>
                        <a:pt x="68" y="522"/>
                      </a:lnTo>
                      <a:lnTo>
                        <a:pt x="68" y="522"/>
                      </a:lnTo>
                      <a:lnTo>
                        <a:pt x="62" y="520"/>
                      </a:lnTo>
                      <a:lnTo>
                        <a:pt x="62" y="520"/>
                      </a:lnTo>
                      <a:lnTo>
                        <a:pt x="56" y="522"/>
                      </a:lnTo>
                      <a:lnTo>
                        <a:pt x="50" y="526"/>
                      </a:lnTo>
                      <a:lnTo>
                        <a:pt x="46" y="530"/>
                      </a:lnTo>
                      <a:lnTo>
                        <a:pt x="44" y="538"/>
                      </a:lnTo>
                      <a:lnTo>
                        <a:pt x="44" y="538"/>
                      </a:lnTo>
                      <a:lnTo>
                        <a:pt x="46" y="542"/>
                      </a:lnTo>
                      <a:lnTo>
                        <a:pt x="48" y="548"/>
                      </a:lnTo>
                      <a:lnTo>
                        <a:pt x="48" y="548"/>
                      </a:lnTo>
                      <a:lnTo>
                        <a:pt x="40" y="560"/>
                      </a:lnTo>
                      <a:lnTo>
                        <a:pt x="36" y="568"/>
                      </a:lnTo>
                      <a:lnTo>
                        <a:pt x="28" y="552"/>
                      </a:lnTo>
                      <a:lnTo>
                        <a:pt x="0" y="502"/>
                      </a:lnTo>
                      <a:lnTo>
                        <a:pt x="0" y="900"/>
                      </a:lnTo>
                      <a:lnTo>
                        <a:pt x="0" y="900"/>
                      </a:lnTo>
                      <a:lnTo>
                        <a:pt x="18" y="834"/>
                      </a:lnTo>
                      <a:lnTo>
                        <a:pt x="32" y="782"/>
                      </a:lnTo>
                      <a:lnTo>
                        <a:pt x="46" y="738"/>
                      </a:lnTo>
                      <a:lnTo>
                        <a:pt x="44" y="766"/>
                      </a:lnTo>
                      <a:lnTo>
                        <a:pt x="38" y="814"/>
                      </a:lnTo>
                      <a:lnTo>
                        <a:pt x="40" y="832"/>
                      </a:lnTo>
                      <a:lnTo>
                        <a:pt x="32" y="854"/>
                      </a:lnTo>
                      <a:lnTo>
                        <a:pt x="32" y="888"/>
                      </a:lnTo>
                      <a:lnTo>
                        <a:pt x="32" y="896"/>
                      </a:lnTo>
                      <a:lnTo>
                        <a:pt x="32" y="946"/>
                      </a:lnTo>
                      <a:lnTo>
                        <a:pt x="40" y="950"/>
                      </a:lnTo>
                      <a:lnTo>
                        <a:pt x="40" y="958"/>
                      </a:lnTo>
                      <a:lnTo>
                        <a:pt x="32" y="964"/>
                      </a:lnTo>
                      <a:lnTo>
                        <a:pt x="32" y="988"/>
                      </a:lnTo>
                      <a:lnTo>
                        <a:pt x="32" y="1026"/>
                      </a:lnTo>
                      <a:lnTo>
                        <a:pt x="48" y="1058"/>
                      </a:lnTo>
                      <a:lnTo>
                        <a:pt x="72" y="1078"/>
                      </a:lnTo>
                      <a:lnTo>
                        <a:pt x="76" y="1056"/>
                      </a:lnTo>
                      <a:lnTo>
                        <a:pt x="80" y="1078"/>
                      </a:lnTo>
                      <a:lnTo>
                        <a:pt x="104" y="1058"/>
                      </a:lnTo>
                      <a:lnTo>
                        <a:pt x="120" y="1026"/>
                      </a:lnTo>
                      <a:lnTo>
                        <a:pt x="120" y="988"/>
                      </a:lnTo>
                      <a:lnTo>
                        <a:pt x="120" y="964"/>
                      </a:lnTo>
                      <a:lnTo>
                        <a:pt x="112" y="958"/>
                      </a:lnTo>
                      <a:lnTo>
                        <a:pt x="112" y="950"/>
                      </a:lnTo>
                      <a:lnTo>
                        <a:pt x="120" y="946"/>
                      </a:lnTo>
                      <a:lnTo>
                        <a:pt x="120" y="896"/>
                      </a:lnTo>
                      <a:lnTo>
                        <a:pt x="120" y="888"/>
                      </a:lnTo>
                      <a:lnTo>
                        <a:pt x="120" y="854"/>
                      </a:lnTo>
                      <a:lnTo>
                        <a:pt x="112" y="832"/>
                      </a:lnTo>
                      <a:lnTo>
                        <a:pt x="114" y="814"/>
                      </a:lnTo>
                      <a:lnTo>
                        <a:pt x="108" y="766"/>
                      </a:lnTo>
                      <a:lnTo>
                        <a:pt x="106" y="738"/>
                      </a:lnTo>
                      <a:lnTo>
                        <a:pt x="106" y="738"/>
                      </a:lnTo>
                      <a:lnTo>
                        <a:pt x="108" y="732"/>
                      </a:lnTo>
                      <a:lnTo>
                        <a:pt x="108" y="732"/>
                      </a:lnTo>
                      <a:lnTo>
                        <a:pt x="122" y="778"/>
                      </a:lnTo>
                      <a:lnTo>
                        <a:pt x="138" y="834"/>
                      </a:lnTo>
                      <a:lnTo>
                        <a:pt x="156" y="900"/>
                      </a:lnTo>
                      <a:lnTo>
                        <a:pt x="156" y="900"/>
                      </a:lnTo>
                      <a:lnTo>
                        <a:pt x="174" y="942"/>
                      </a:lnTo>
                      <a:lnTo>
                        <a:pt x="190" y="978"/>
                      </a:lnTo>
                      <a:lnTo>
                        <a:pt x="204" y="1010"/>
                      </a:lnTo>
                      <a:lnTo>
                        <a:pt x="204" y="1010"/>
                      </a:lnTo>
                      <a:lnTo>
                        <a:pt x="218" y="1034"/>
                      </a:lnTo>
                      <a:lnTo>
                        <a:pt x="230" y="1050"/>
                      </a:lnTo>
                      <a:lnTo>
                        <a:pt x="242" y="1064"/>
                      </a:lnTo>
                      <a:lnTo>
                        <a:pt x="268" y="1090"/>
                      </a:lnTo>
                      <a:lnTo>
                        <a:pt x="284" y="1100"/>
                      </a:lnTo>
                      <a:lnTo>
                        <a:pt x="294" y="1102"/>
                      </a:lnTo>
                      <a:lnTo>
                        <a:pt x="294" y="1102"/>
                      </a:lnTo>
                      <a:lnTo>
                        <a:pt x="296" y="1100"/>
                      </a:lnTo>
                      <a:lnTo>
                        <a:pt x="300" y="1098"/>
                      </a:lnTo>
                      <a:lnTo>
                        <a:pt x="308" y="1100"/>
                      </a:lnTo>
                      <a:lnTo>
                        <a:pt x="316" y="1104"/>
                      </a:lnTo>
                      <a:lnTo>
                        <a:pt x="316" y="1104"/>
                      </a:lnTo>
                      <a:lnTo>
                        <a:pt x="322" y="1108"/>
                      </a:lnTo>
                      <a:lnTo>
                        <a:pt x="350" y="1108"/>
                      </a:lnTo>
                      <a:lnTo>
                        <a:pt x="366" y="1096"/>
                      </a:lnTo>
                      <a:lnTo>
                        <a:pt x="384" y="1082"/>
                      </a:lnTo>
                      <a:lnTo>
                        <a:pt x="384" y="1082"/>
                      </a:lnTo>
                      <a:lnTo>
                        <a:pt x="396" y="1076"/>
                      </a:lnTo>
                      <a:lnTo>
                        <a:pt x="408" y="1072"/>
                      </a:lnTo>
                      <a:lnTo>
                        <a:pt x="418" y="1068"/>
                      </a:lnTo>
                      <a:lnTo>
                        <a:pt x="418" y="1068"/>
                      </a:lnTo>
                      <a:lnTo>
                        <a:pt x="426" y="1064"/>
                      </a:lnTo>
                      <a:lnTo>
                        <a:pt x="432" y="1058"/>
                      </a:lnTo>
                      <a:lnTo>
                        <a:pt x="438" y="1050"/>
                      </a:lnTo>
                      <a:lnTo>
                        <a:pt x="438" y="1050"/>
                      </a:lnTo>
                      <a:lnTo>
                        <a:pt x="446" y="1040"/>
                      </a:lnTo>
                      <a:lnTo>
                        <a:pt x="454" y="1034"/>
                      </a:lnTo>
                      <a:lnTo>
                        <a:pt x="458" y="1032"/>
                      </a:lnTo>
                      <a:lnTo>
                        <a:pt x="462" y="1030"/>
                      </a:lnTo>
                      <a:lnTo>
                        <a:pt x="462" y="1030"/>
                      </a:lnTo>
                      <a:lnTo>
                        <a:pt x="470" y="1030"/>
                      </a:lnTo>
                      <a:lnTo>
                        <a:pt x="480" y="1026"/>
                      </a:lnTo>
                      <a:lnTo>
                        <a:pt x="492" y="1014"/>
                      </a:lnTo>
                      <a:lnTo>
                        <a:pt x="492" y="1014"/>
                      </a:lnTo>
                      <a:lnTo>
                        <a:pt x="502" y="1002"/>
                      </a:lnTo>
                      <a:lnTo>
                        <a:pt x="506" y="992"/>
                      </a:lnTo>
                      <a:lnTo>
                        <a:pt x="506" y="992"/>
                      </a:lnTo>
                      <a:lnTo>
                        <a:pt x="506" y="992"/>
                      </a:lnTo>
                      <a:lnTo>
                        <a:pt x="508" y="988"/>
                      </a:lnTo>
                      <a:lnTo>
                        <a:pt x="514" y="982"/>
                      </a:lnTo>
                      <a:lnTo>
                        <a:pt x="526" y="976"/>
                      </a:lnTo>
                      <a:lnTo>
                        <a:pt x="526" y="976"/>
                      </a:lnTo>
                      <a:lnTo>
                        <a:pt x="534" y="974"/>
                      </a:lnTo>
                      <a:lnTo>
                        <a:pt x="538" y="970"/>
                      </a:lnTo>
                      <a:lnTo>
                        <a:pt x="546" y="962"/>
                      </a:lnTo>
                      <a:lnTo>
                        <a:pt x="548" y="954"/>
                      </a:lnTo>
                      <a:lnTo>
                        <a:pt x="550" y="952"/>
                      </a:lnTo>
                      <a:lnTo>
                        <a:pt x="560" y="916"/>
                      </a:lnTo>
                      <a:lnTo>
                        <a:pt x="576" y="890"/>
                      </a:lnTo>
                      <a:lnTo>
                        <a:pt x="576" y="860"/>
                      </a:lnTo>
                      <a:lnTo>
                        <a:pt x="576" y="860"/>
                      </a:lnTo>
                      <a:lnTo>
                        <a:pt x="578" y="850"/>
                      </a:lnTo>
                      <a:lnTo>
                        <a:pt x="580" y="840"/>
                      </a:lnTo>
                      <a:lnTo>
                        <a:pt x="580" y="832"/>
                      </a:lnTo>
                      <a:lnTo>
                        <a:pt x="580" y="832"/>
                      </a:lnTo>
                      <a:lnTo>
                        <a:pt x="576" y="820"/>
                      </a:lnTo>
                      <a:lnTo>
                        <a:pt x="572" y="808"/>
                      </a:lnTo>
                      <a:lnTo>
                        <a:pt x="566" y="792"/>
                      </a:lnTo>
                      <a:lnTo>
                        <a:pt x="524" y="726"/>
                      </a:lnTo>
                      <a:lnTo>
                        <a:pt x="524" y="726"/>
                      </a:lnTo>
                      <a:lnTo>
                        <a:pt x="474" y="680"/>
                      </a:lnTo>
                      <a:lnTo>
                        <a:pt x="474" y="680"/>
                      </a:lnTo>
                      <a:lnTo>
                        <a:pt x="460" y="674"/>
                      </a:lnTo>
                      <a:lnTo>
                        <a:pt x="438" y="666"/>
                      </a:lnTo>
                      <a:lnTo>
                        <a:pt x="384" y="646"/>
                      </a:lnTo>
                      <a:lnTo>
                        <a:pt x="524" y="634"/>
                      </a:lnTo>
                      <a:lnTo>
                        <a:pt x="564" y="630"/>
                      </a:lnTo>
                      <a:lnTo>
                        <a:pt x="606" y="624"/>
                      </a:lnTo>
                      <a:lnTo>
                        <a:pt x="636" y="608"/>
                      </a:lnTo>
                      <a:lnTo>
                        <a:pt x="666" y="580"/>
                      </a:lnTo>
                      <a:lnTo>
                        <a:pt x="694" y="536"/>
                      </a:lnTo>
                      <a:lnTo>
                        <a:pt x="714" y="486"/>
                      </a:lnTo>
                      <a:lnTo>
                        <a:pt x="724" y="454"/>
                      </a:lnTo>
                      <a:lnTo>
                        <a:pt x="742" y="360"/>
                      </a:lnTo>
                      <a:lnTo>
                        <a:pt x="756" y="300"/>
                      </a:lnTo>
                      <a:lnTo>
                        <a:pt x="788" y="150"/>
                      </a:lnTo>
                      <a:lnTo>
                        <a:pt x="792" y="100"/>
                      </a:lnTo>
                      <a:lnTo>
                        <a:pt x="792" y="30"/>
                      </a:lnTo>
                      <a:close/>
                      <a:moveTo>
                        <a:pt x="74" y="522"/>
                      </a:moveTo>
                      <a:lnTo>
                        <a:pt x="74" y="524"/>
                      </a:lnTo>
                      <a:lnTo>
                        <a:pt x="72" y="522"/>
                      </a:lnTo>
                      <a:lnTo>
                        <a:pt x="74" y="522"/>
                      </a:lnTo>
                      <a:lnTo>
                        <a:pt x="74" y="522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14000"/>
                  </a:schemeClr>
                </a:solidFill>
                <a:ln w="9525">
                  <a:solidFill>
                    <a:schemeClr val="tx2">
                      <a:lumMod val="60000"/>
                      <a:lumOff val="40000"/>
                      <a:alpha val="16000"/>
                    </a:schemeClr>
                  </a:solidFill>
                  <a:round/>
                  <a:headEnd/>
                  <a:tailEnd/>
                </a:ln>
                <a:effectLst>
                  <a:glow rad="63500">
                    <a:schemeClr val="bg2">
                      <a:lumMod val="60000"/>
                      <a:lumOff val="40000"/>
                      <a:alpha val="16000"/>
                    </a:schemeClr>
                  </a:glow>
                  <a:softEdge rad="12700"/>
                </a:effectLst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5" name="Group 97"/>
              <p:cNvGrpSpPr>
                <a:grpSpLocks noChangeAspect="1"/>
              </p:cNvGrpSpPr>
              <p:nvPr/>
            </p:nvGrpSpPr>
            <p:grpSpPr>
              <a:xfrm>
                <a:off x="4876750" y="5704502"/>
                <a:ext cx="1752575" cy="1153497"/>
                <a:chOff x="4978400" y="152400"/>
                <a:chExt cx="2489200" cy="1638300"/>
              </a:xfrm>
              <a:solidFill>
                <a:schemeClr val="bg2">
                  <a:lumMod val="50000"/>
                  <a:lumOff val="50000"/>
                  <a:alpha val="8000"/>
                </a:schemeClr>
              </a:solidFill>
            </p:grpSpPr>
            <p:sp>
              <p:nvSpPr>
                <p:cNvPr id="196" name="Freeform 28"/>
                <p:cNvSpPr>
                  <a:spLocks/>
                </p:cNvSpPr>
                <p:nvPr/>
              </p:nvSpPr>
              <p:spPr bwMode="auto">
                <a:xfrm>
                  <a:off x="6003925" y="923925"/>
                  <a:ext cx="22225" cy="546100"/>
                </a:xfrm>
                <a:custGeom>
                  <a:avLst/>
                  <a:gdLst>
                    <a:gd name="T0" fmla="*/ 12 w 14"/>
                    <a:gd name="T1" fmla="*/ 344 h 344"/>
                    <a:gd name="T2" fmla="*/ 12 w 14"/>
                    <a:gd name="T3" fmla="*/ 344 h 344"/>
                    <a:gd name="T4" fmla="*/ 14 w 14"/>
                    <a:gd name="T5" fmla="*/ 344 h 344"/>
                    <a:gd name="T6" fmla="*/ 14 w 14"/>
                    <a:gd name="T7" fmla="*/ 344 h 344"/>
                    <a:gd name="T8" fmla="*/ 14 w 14"/>
                    <a:gd name="T9" fmla="*/ 326 h 344"/>
                    <a:gd name="T10" fmla="*/ 14 w 14"/>
                    <a:gd name="T11" fmla="*/ 58 h 344"/>
                    <a:gd name="T12" fmla="*/ 14 w 14"/>
                    <a:gd name="T13" fmla="*/ 58 h 344"/>
                    <a:gd name="T14" fmla="*/ 14 w 14"/>
                    <a:gd name="T15" fmla="*/ 30 h 344"/>
                    <a:gd name="T16" fmla="*/ 14 w 14"/>
                    <a:gd name="T17" fmla="*/ 30 h 344"/>
                    <a:gd name="T18" fmla="*/ 12 w 14"/>
                    <a:gd name="T19" fmla="*/ 16 h 344"/>
                    <a:gd name="T20" fmla="*/ 8 w 14"/>
                    <a:gd name="T21" fmla="*/ 4 h 344"/>
                    <a:gd name="T22" fmla="*/ 8 w 14"/>
                    <a:gd name="T23" fmla="*/ 4 h 344"/>
                    <a:gd name="T24" fmla="*/ 6 w 14"/>
                    <a:gd name="T25" fmla="*/ 2 h 344"/>
                    <a:gd name="T26" fmla="*/ 4 w 14"/>
                    <a:gd name="T27" fmla="*/ 0 h 344"/>
                    <a:gd name="T28" fmla="*/ 2 w 14"/>
                    <a:gd name="T29" fmla="*/ 0 h 344"/>
                    <a:gd name="T30" fmla="*/ 0 w 14"/>
                    <a:gd name="T31" fmla="*/ 2 h 344"/>
                    <a:gd name="T32" fmla="*/ 0 w 14"/>
                    <a:gd name="T33" fmla="*/ 2 h 344"/>
                    <a:gd name="T34" fmla="*/ 0 w 14"/>
                    <a:gd name="T35" fmla="*/ 10 h 344"/>
                    <a:gd name="T36" fmla="*/ 0 w 14"/>
                    <a:gd name="T37" fmla="*/ 18 h 344"/>
                    <a:gd name="T38" fmla="*/ 0 w 14"/>
                    <a:gd name="T39" fmla="*/ 18 h 344"/>
                    <a:gd name="T40" fmla="*/ 2 w 14"/>
                    <a:gd name="T41" fmla="*/ 30 h 344"/>
                    <a:gd name="T42" fmla="*/ 4 w 14"/>
                    <a:gd name="T43" fmla="*/ 44 h 344"/>
                    <a:gd name="T44" fmla="*/ 10 w 14"/>
                    <a:gd name="T45" fmla="*/ 326 h 344"/>
                    <a:gd name="T46" fmla="*/ 10 w 14"/>
                    <a:gd name="T47" fmla="*/ 326 h 344"/>
                    <a:gd name="T48" fmla="*/ 10 w 14"/>
                    <a:gd name="T49" fmla="*/ 338 h 344"/>
                    <a:gd name="T50" fmla="*/ 12 w 14"/>
                    <a:gd name="T51" fmla="*/ 344 h 344"/>
                    <a:gd name="T52" fmla="*/ 12 w 14"/>
                    <a:gd name="T53" fmla="*/ 344 h 3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4" h="344">
                      <a:moveTo>
                        <a:pt x="12" y="344"/>
                      </a:moveTo>
                      <a:lnTo>
                        <a:pt x="12" y="344"/>
                      </a:lnTo>
                      <a:lnTo>
                        <a:pt x="14" y="344"/>
                      </a:lnTo>
                      <a:lnTo>
                        <a:pt x="14" y="344"/>
                      </a:lnTo>
                      <a:lnTo>
                        <a:pt x="14" y="326"/>
                      </a:lnTo>
                      <a:lnTo>
                        <a:pt x="14" y="58"/>
                      </a:lnTo>
                      <a:lnTo>
                        <a:pt x="14" y="58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2" y="16"/>
                      </a:ln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10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2" y="30"/>
                      </a:lnTo>
                      <a:lnTo>
                        <a:pt x="4" y="44"/>
                      </a:lnTo>
                      <a:lnTo>
                        <a:pt x="10" y="326"/>
                      </a:lnTo>
                      <a:lnTo>
                        <a:pt x="10" y="326"/>
                      </a:lnTo>
                      <a:lnTo>
                        <a:pt x="10" y="338"/>
                      </a:lnTo>
                      <a:lnTo>
                        <a:pt x="12" y="344"/>
                      </a:lnTo>
                      <a:lnTo>
                        <a:pt x="12" y="3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7" name="Freeform 29"/>
                <p:cNvSpPr>
                  <a:spLocks/>
                </p:cNvSpPr>
                <p:nvPr/>
              </p:nvSpPr>
              <p:spPr bwMode="auto">
                <a:xfrm>
                  <a:off x="6019800" y="148272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8" name="Freeform 30"/>
                <p:cNvSpPr>
                  <a:spLocks/>
                </p:cNvSpPr>
                <p:nvPr/>
              </p:nvSpPr>
              <p:spPr bwMode="auto">
                <a:xfrm>
                  <a:off x="6045200" y="1257300"/>
                  <a:ext cx="501650" cy="228600"/>
                </a:xfrm>
                <a:custGeom>
                  <a:avLst/>
                  <a:gdLst>
                    <a:gd name="T0" fmla="*/ 2 w 316"/>
                    <a:gd name="T1" fmla="*/ 144 h 144"/>
                    <a:gd name="T2" fmla="*/ 2 w 316"/>
                    <a:gd name="T3" fmla="*/ 144 h 144"/>
                    <a:gd name="T4" fmla="*/ 18 w 316"/>
                    <a:gd name="T5" fmla="*/ 138 h 144"/>
                    <a:gd name="T6" fmla="*/ 276 w 316"/>
                    <a:gd name="T7" fmla="*/ 20 h 144"/>
                    <a:gd name="T8" fmla="*/ 276 w 316"/>
                    <a:gd name="T9" fmla="*/ 20 h 144"/>
                    <a:gd name="T10" fmla="*/ 288 w 316"/>
                    <a:gd name="T11" fmla="*/ 16 h 144"/>
                    <a:gd name="T12" fmla="*/ 298 w 316"/>
                    <a:gd name="T13" fmla="*/ 12 h 144"/>
                    <a:gd name="T14" fmla="*/ 298 w 316"/>
                    <a:gd name="T15" fmla="*/ 12 h 144"/>
                    <a:gd name="T16" fmla="*/ 306 w 316"/>
                    <a:gd name="T17" fmla="*/ 10 h 144"/>
                    <a:gd name="T18" fmla="*/ 314 w 316"/>
                    <a:gd name="T19" fmla="*/ 6 h 144"/>
                    <a:gd name="T20" fmla="*/ 314 w 316"/>
                    <a:gd name="T21" fmla="*/ 6 h 144"/>
                    <a:gd name="T22" fmla="*/ 316 w 316"/>
                    <a:gd name="T23" fmla="*/ 2 h 144"/>
                    <a:gd name="T24" fmla="*/ 314 w 316"/>
                    <a:gd name="T25" fmla="*/ 0 h 144"/>
                    <a:gd name="T26" fmla="*/ 312 w 316"/>
                    <a:gd name="T27" fmla="*/ 0 h 144"/>
                    <a:gd name="T28" fmla="*/ 308 w 316"/>
                    <a:gd name="T29" fmla="*/ 0 h 144"/>
                    <a:gd name="T30" fmla="*/ 308 w 316"/>
                    <a:gd name="T31" fmla="*/ 0 h 144"/>
                    <a:gd name="T32" fmla="*/ 296 w 316"/>
                    <a:gd name="T33" fmla="*/ 2 h 144"/>
                    <a:gd name="T34" fmla="*/ 284 w 316"/>
                    <a:gd name="T35" fmla="*/ 6 h 144"/>
                    <a:gd name="T36" fmla="*/ 284 w 316"/>
                    <a:gd name="T37" fmla="*/ 6 h 144"/>
                    <a:gd name="T38" fmla="*/ 258 w 316"/>
                    <a:gd name="T39" fmla="*/ 18 h 144"/>
                    <a:gd name="T40" fmla="*/ 16 w 316"/>
                    <a:gd name="T41" fmla="*/ 132 h 144"/>
                    <a:gd name="T42" fmla="*/ 16 w 316"/>
                    <a:gd name="T43" fmla="*/ 132 h 144"/>
                    <a:gd name="T44" fmla="*/ 0 w 316"/>
                    <a:gd name="T45" fmla="*/ 140 h 144"/>
                    <a:gd name="T46" fmla="*/ 0 w 316"/>
                    <a:gd name="T47" fmla="*/ 140 h 144"/>
                    <a:gd name="T48" fmla="*/ 0 w 316"/>
                    <a:gd name="T49" fmla="*/ 142 h 144"/>
                    <a:gd name="T50" fmla="*/ 0 w 316"/>
                    <a:gd name="T51" fmla="*/ 142 h 144"/>
                    <a:gd name="T52" fmla="*/ 2 w 316"/>
                    <a:gd name="T53" fmla="*/ 144 h 144"/>
                    <a:gd name="T54" fmla="*/ 2 w 316"/>
                    <a:gd name="T55" fmla="*/ 144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16" h="144">
                      <a:moveTo>
                        <a:pt x="2" y="144"/>
                      </a:moveTo>
                      <a:lnTo>
                        <a:pt x="2" y="144"/>
                      </a:lnTo>
                      <a:lnTo>
                        <a:pt x="18" y="138"/>
                      </a:lnTo>
                      <a:lnTo>
                        <a:pt x="276" y="20"/>
                      </a:lnTo>
                      <a:lnTo>
                        <a:pt x="276" y="20"/>
                      </a:lnTo>
                      <a:lnTo>
                        <a:pt x="288" y="16"/>
                      </a:lnTo>
                      <a:lnTo>
                        <a:pt x="298" y="12"/>
                      </a:lnTo>
                      <a:lnTo>
                        <a:pt x="298" y="12"/>
                      </a:lnTo>
                      <a:lnTo>
                        <a:pt x="306" y="10"/>
                      </a:lnTo>
                      <a:lnTo>
                        <a:pt x="314" y="6"/>
                      </a:lnTo>
                      <a:lnTo>
                        <a:pt x="314" y="6"/>
                      </a:lnTo>
                      <a:lnTo>
                        <a:pt x="316" y="2"/>
                      </a:lnTo>
                      <a:lnTo>
                        <a:pt x="314" y="0"/>
                      </a:lnTo>
                      <a:lnTo>
                        <a:pt x="312" y="0"/>
                      </a:lnTo>
                      <a:lnTo>
                        <a:pt x="308" y="0"/>
                      </a:lnTo>
                      <a:lnTo>
                        <a:pt x="308" y="0"/>
                      </a:lnTo>
                      <a:lnTo>
                        <a:pt x="296" y="2"/>
                      </a:lnTo>
                      <a:lnTo>
                        <a:pt x="284" y="6"/>
                      </a:lnTo>
                      <a:lnTo>
                        <a:pt x="284" y="6"/>
                      </a:lnTo>
                      <a:lnTo>
                        <a:pt x="258" y="18"/>
                      </a:lnTo>
                      <a:lnTo>
                        <a:pt x="16" y="132"/>
                      </a:lnTo>
                      <a:lnTo>
                        <a:pt x="16" y="132"/>
                      </a:lnTo>
                      <a:lnTo>
                        <a:pt x="0" y="140"/>
                      </a:lnTo>
                      <a:lnTo>
                        <a:pt x="0" y="140"/>
                      </a:lnTo>
                      <a:lnTo>
                        <a:pt x="0" y="142"/>
                      </a:lnTo>
                      <a:lnTo>
                        <a:pt x="0" y="142"/>
                      </a:lnTo>
                      <a:lnTo>
                        <a:pt x="2" y="144"/>
                      </a:lnTo>
                      <a:lnTo>
                        <a:pt x="2" y="1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9" name="Freeform 31"/>
                <p:cNvSpPr>
                  <a:spLocks noEditPoints="1"/>
                </p:cNvSpPr>
                <p:nvPr/>
              </p:nvSpPr>
              <p:spPr bwMode="auto">
                <a:xfrm>
                  <a:off x="4978400" y="152400"/>
                  <a:ext cx="2489200" cy="1638300"/>
                </a:xfrm>
                <a:custGeom>
                  <a:avLst/>
                  <a:gdLst>
                    <a:gd name="T0" fmla="*/ 1564 w 1568"/>
                    <a:gd name="T1" fmla="*/ 774 h 1032"/>
                    <a:gd name="T2" fmla="*/ 1550 w 1568"/>
                    <a:gd name="T3" fmla="*/ 756 h 1032"/>
                    <a:gd name="T4" fmla="*/ 1514 w 1568"/>
                    <a:gd name="T5" fmla="*/ 728 h 1032"/>
                    <a:gd name="T6" fmla="*/ 1166 w 1568"/>
                    <a:gd name="T7" fmla="*/ 710 h 1032"/>
                    <a:gd name="T8" fmla="*/ 762 w 1568"/>
                    <a:gd name="T9" fmla="*/ 854 h 1032"/>
                    <a:gd name="T10" fmla="*/ 666 w 1568"/>
                    <a:gd name="T11" fmla="*/ 908 h 1032"/>
                    <a:gd name="T12" fmla="*/ 672 w 1568"/>
                    <a:gd name="T13" fmla="*/ 894 h 1032"/>
                    <a:gd name="T14" fmla="*/ 678 w 1568"/>
                    <a:gd name="T15" fmla="*/ 876 h 1032"/>
                    <a:gd name="T16" fmla="*/ 686 w 1568"/>
                    <a:gd name="T17" fmla="*/ 864 h 1032"/>
                    <a:gd name="T18" fmla="*/ 676 w 1568"/>
                    <a:gd name="T19" fmla="*/ 846 h 1032"/>
                    <a:gd name="T20" fmla="*/ 680 w 1568"/>
                    <a:gd name="T21" fmla="*/ 842 h 1032"/>
                    <a:gd name="T22" fmla="*/ 672 w 1568"/>
                    <a:gd name="T23" fmla="*/ 838 h 1032"/>
                    <a:gd name="T24" fmla="*/ 668 w 1568"/>
                    <a:gd name="T25" fmla="*/ 830 h 1032"/>
                    <a:gd name="T26" fmla="*/ 660 w 1568"/>
                    <a:gd name="T27" fmla="*/ 830 h 1032"/>
                    <a:gd name="T28" fmla="*/ 654 w 1568"/>
                    <a:gd name="T29" fmla="*/ 832 h 1032"/>
                    <a:gd name="T30" fmla="*/ 648 w 1568"/>
                    <a:gd name="T31" fmla="*/ 828 h 1032"/>
                    <a:gd name="T32" fmla="*/ 634 w 1568"/>
                    <a:gd name="T33" fmla="*/ 826 h 1032"/>
                    <a:gd name="T34" fmla="*/ 622 w 1568"/>
                    <a:gd name="T35" fmla="*/ 834 h 1032"/>
                    <a:gd name="T36" fmla="*/ 620 w 1568"/>
                    <a:gd name="T37" fmla="*/ 844 h 1032"/>
                    <a:gd name="T38" fmla="*/ 600 w 1568"/>
                    <a:gd name="T39" fmla="*/ 838 h 1032"/>
                    <a:gd name="T40" fmla="*/ 584 w 1568"/>
                    <a:gd name="T41" fmla="*/ 448 h 1032"/>
                    <a:gd name="T42" fmla="*/ 456 w 1568"/>
                    <a:gd name="T43" fmla="*/ 96 h 1032"/>
                    <a:gd name="T44" fmla="*/ 376 w 1568"/>
                    <a:gd name="T45" fmla="*/ 14 h 1032"/>
                    <a:gd name="T46" fmla="*/ 310 w 1568"/>
                    <a:gd name="T47" fmla="*/ 0 h 1032"/>
                    <a:gd name="T48" fmla="*/ 296 w 1568"/>
                    <a:gd name="T49" fmla="*/ 10 h 1032"/>
                    <a:gd name="T50" fmla="*/ 240 w 1568"/>
                    <a:gd name="T51" fmla="*/ 112 h 1032"/>
                    <a:gd name="T52" fmla="*/ 126 w 1568"/>
                    <a:gd name="T53" fmla="*/ 418 h 1032"/>
                    <a:gd name="T54" fmla="*/ 108 w 1568"/>
                    <a:gd name="T55" fmla="*/ 562 h 1032"/>
                    <a:gd name="T56" fmla="*/ 170 w 1568"/>
                    <a:gd name="T57" fmla="*/ 662 h 1032"/>
                    <a:gd name="T58" fmla="*/ 320 w 1568"/>
                    <a:gd name="T59" fmla="*/ 780 h 1032"/>
                    <a:gd name="T60" fmla="*/ 222 w 1568"/>
                    <a:gd name="T61" fmla="*/ 760 h 1032"/>
                    <a:gd name="T62" fmla="*/ 78 w 1568"/>
                    <a:gd name="T63" fmla="*/ 806 h 1032"/>
                    <a:gd name="T64" fmla="*/ 52 w 1568"/>
                    <a:gd name="T65" fmla="*/ 826 h 1032"/>
                    <a:gd name="T66" fmla="*/ 40 w 1568"/>
                    <a:gd name="T67" fmla="*/ 842 h 1032"/>
                    <a:gd name="T68" fmla="*/ 16 w 1568"/>
                    <a:gd name="T69" fmla="*/ 888 h 1032"/>
                    <a:gd name="T70" fmla="*/ 2 w 1568"/>
                    <a:gd name="T71" fmla="*/ 958 h 1032"/>
                    <a:gd name="T72" fmla="*/ 2 w 1568"/>
                    <a:gd name="T73" fmla="*/ 980 h 1032"/>
                    <a:gd name="T74" fmla="*/ 10 w 1568"/>
                    <a:gd name="T75" fmla="*/ 992 h 1032"/>
                    <a:gd name="T76" fmla="*/ 18 w 1568"/>
                    <a:gd name="T77" fmla="*/ 1016 h 1032"/>
                    <a:gd name="T78" fmla="*/ 18 w 1568"/>
                    <a:gd name="T79" fmla="*/ 1032 h 1032"/>
                    <a:gd name="T80" fmla="*/ 512 w 1568"/>
                    <a:gd name="T81" fmla="*/ 1014 h 1032"/>
                    <a:gd name="T82" fmla="*/ 1388 w 1568"/>
                    <a:gd name="T83" fmla="*/ 1020 h 1032"/>
                    <a:gd name="T84" fmla="*/ 1562 w 1568"/>
                    <a:gd name="T85" fmla="*/ 816 h 1032"/>
                    <a:gd name="T86" fmla="*/ 1568 w 1568"/>
                    <a:gd name="T87" fmla="*/ 806 h 1032"/>
                    <a:gd name="T88" fmla="*/ 656 w 1568"/>
                    <a:gd name="T89" fmla="*/ 838 h 1032"/>
                    <a:gd name="T90" fmla="*/ 656 w 1568"/>
                    <a:gd name="T91" fmla="*/ 838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568" h="1032">
                      <a:moveTo>
                        <a:pt x="1568" y="784"/>
                      </a:moveTo>
                      <a:lnTo>
                        <a:pt x="1568" y="784"/>
                      </a:lnTo>
                      <a:lnTo>
                        <a:pt x="1564" y="774"/>
                      </a:lnTo>
                      <a:lnTo>
                        <a:pt x="1564" y="774"/>
                      </a:lnTo>
                      <a:lnTo>
                        <a:pt x="1558" y="764"/>
                      </a:lnTo>
                      <a:lnTo>
                        <a:pt x="1550" y="756"/>
                      </a:lnTo>
                      <a:lnTo>
                        <a:pt x="1534" y="742"/>
                      </a:lnTo>
                      <a:lnTo>
                        <a:pt x="1520" y="732"/>
                      </a:lnTo>
                      <a:lnTo>
                        <a:pt x="1514" y="728"/>
                      </a:lnTo>
                      <a:lnTo>
                        <a:pt x="1420" y="702"/>
                      </a:lnTo>
                      <a:lnTo>
                        <a:pt x="1302" y="692"/>
                      </a:lnTo>
                      <a:lnTo>
                        <a:pt x="1166" y="710"/>
                      </a:lnTo>
                      <a:lnTo>
                        <a:pt x="1046" y="738"/>
                      </a:lnTo>
                      <a:lnTo>
                        <a:pt x="874" y="800"/>
                      </a:lnTo>
                      <a:lnTo>
                        <a:pt x="762" y="854"/>
                      </a:lnTo>
                      <a:lnTo>
                        <a:pt x="688" y="894"/>
                      </a:lnTo>
                      <a:lnTo>
                        <a:pt x="666" y="908"/>
                      </a:lnTo>
                      <a:lnTo>
                        <a:pt x="666" y="908"/>
                      </a:lnTo>
                      <a:lnTo>
                        <a:pt x="670" y="904"/>
                      </a:lnTo>
                      <a:lnTo>
                        <a:pt x="670" y="904"/>
                      </a:lnTo>
                      <a:lnTo>
                        <a:pt x="672" y="894"/>
                      </a:lnTo>
                      <a:lnTo>
                        <a:pt x="672" y="880"/>
                      </a:lnTo>
                      <a:lnTo>
                        <a:pt x="672" y="880"/>
                      </a:lnTo>
                      <a:lnTo>
                        <a:pt x="678" y="876"/>
                      </a:lnTo>
                      <a:lnTo>
                        <a:pt x="682" y="872"/>
                      </a:lnTo>
                      <a:lnTo>
                        <a:pt x="682" y="872"/>
                      </a:lnTo>
                      <a:lnTo>
                        <a:pt x="686" y="864"/>
                      </a:lnTo>
                      <a:lnTo>
                        <a:pt x="684" y="858"/>
                      </a:lnTo>
                      <a:lnTo>
                        <a:pt x="682" y="852"/>
                      </a:lnTo>
                      <a:lnTo>
                        <a:pt x="676" y="846"/>
                      </a:lnTo>
                      <a:lnTo>
                        <a:pt x="676" y="846"/>
                      </a:lnTo>
                      <a:lnTo>
                        <a:pt x="674" y="846"/>
                      </a:lnTo>
                      <a:lnTo>
                        <a:pt x="680" y="842"/>
                      </a:lnTo>
                      <a:lnTo>
                        <a:pt x="674" y="840"/>
                      </a:lnTo>
                      <a:lnTo>
                        <a:pt x="672" y="838"/>
                      </a:lnTo>
                      <a:lnTo>
                        <a:pt x="672" y="838"/>
                      </a:lnTo>
                      <a:lnTo>
                        <a:pt x="670" y="832"/>
                      </a:lnTo>
                      <a:lnTo>
                        <a:pt x="668" y="832"/>
                      </a:lnTo>
                      <a:lnTo>
                        <a:pt x="668" y="830"/>
                      </a:lnTo>
                      <a:lnTo>
                        <a:pt x="664" y="830"/>
                      </a:lnTo>
                      <a:lnTo>
                        <a:pt x="660" y="828"/>
                      </a:lnTo>
                      <a:lnTo>
                        <a:pt x="660" y="830"/>
                      </a:lnTo>
                      <a:lnTo>
                        <a:pt x="656" y="828"/>
                      </a:lnTo>
                      <a:lnTo>
                        <a:pt x="654" y="826"/>
                      </a:lnTo>
                      <a:lnTo>
                        <a:pt x="654" y="832"/>
                      </a:lnTo>
                      <a:lnTo>
                        <a:pt x="652" y="832"/>
                      </a:lnTo>
                      <a:lnTo>
                        <a:pt x="652" y="832"/>
                      </a:lnTo>
                      <a:lnTo>
                        <a:pt x="648" y="828"/>
                      </a:lnTo>
                      <a:lnTo>
                        <a:pt x="648" y="828"/>
                      </a:lnTo>
                      <a:lnTo>
                        <a:pt x="642" y="826"/>
                      </a:lnTo>
                      <a:lnTo>
                        <a:pt x="634" y="826"/>
                      </a:lnTo>
                      <a:lnTo>
                        <a:pt x="628" y="828"/>
                      </a:lnTo>
                      <a:lnTo>
                        <a:pt x="622" y="834"/>
                      </a:lnTo>
                      <a:lnTo>
                        <a:pt x="622" y="834"/>
                      </a:lnTo>
                      <a:lnTo>
                        <a:pt x="620" y="840"/>
                      </a:lnTo>
                      <a:lnTo>
                        <a:pt x="620" y="844"/>
                      </a:lnTo>
                      <a:lnTo>
                        <a:pt x="620" y="844"/>
                      </a:lnTo>
                      <a:lnTo>
                        <a:pt x="606" y="850"/>
                      </a:lnTo>
                      <a:lnTo>
                        <a:pt x="598" y="856"/>
                      </a:lnTo>
                      <a:lnTo>
                        <a:pt x="600" y="838"/>
                      </a:lnTo>
                      <a:lnTo>
                        <a:pt x="604" y="756"/>
                      </a:lnTo>
                      <a:lnTo>
                        <a:pt x="604" y="630"/>
                      </a:lnTo>
                      <a:lnTo>
                        <a:pt x="584" y="448"/>
                      </a:lnTo>
                      <a:lnTo>
                        <a:pt x="560" y="328"/>
                      </a:lnTo>
                      <a:lnTo>
                        <a:pt x="516" y="198"/>
                      </a:lnTo>
                      <a:lnTo>
                        <a:pt x="456" y="96"/>
                      </a:lnTo>
                      <a:lnTo>
                        <a:pt x="390" y="22"/>
                      </a:lnTo>
                      <a:lnTo>
                        <a:pt x="390" y="22"/>
                      </a:lnTo>
                      <a:lnTo>
                        <a:pt x="376" y="14"/>
                      </a:lnTo>
                      <a:lnTo>
                        <a:pt x="362" y="6"/>
                      </a:lnTo>
                      <a:lnTo>
                        <a:pt x="342" y="0"/>
                      </a:lnTo>
                      <a:lnTo>
                        <a:pt x="310" y="0"/>
                      </a:lnTo>
                      <a:lnTo>
                        <a:pt x="310" y="0"/>
                      </a:lnTo>
                      <a:lnTo>
                        <a:pt x="302" y="4"/>
                      </a:lnTo>
                      <a:lnTo>
                        <a:pt x="296" y="10"/>
                      </a:lnTo>
                      <a:lnTo>
                        <a:pt x="292" y="18"/>
                      </a:lnTo>
                      <a:lnTo>
                        <a:pt x="276" y="42"/>
                      </a:lnTo>
                      <a:lnTo>
                        <a:pt x="240" y="112"/>
                      </a:lnTo>
                      <a:lnTo>
                        <a:pt x="184" y="262"/>
                      </a:lnTo>
                      <a:lnTo>
                        <a:pt x="164" y="324"/>
                      </a:lnTo>
                      <a:lnTo>
                        <a:pt x="126" y="418"/>
                      </a:lnTo>
                      <a:lnTo>
                        <a:pt x="118" y="452"/>
                      </a:lnTo>
                      <a:lnTo>
                        <a:pt x="108" y="508"/>
                      </a:lnTo>
                      <a:lnTo>
                        <a:pt x="108" y="562"/>
                      </a:lnTo>
                      <a:lnTo>
                        <a:pt x="118" y="604"/>
                      </a:lnTo>
                      <a:lnTo>
                        <a:pt x="136" y="634"/>
                      </a:lnTo>
                      <a:lnTo>
                        <a:pt x="170" y="662"/>
                      </a:lnTo>
                      <a:lnTo>
                        <a:pt x="204" y="692"/>
                      </a:lnTo>
                      <a:lnTo>
                        <a:pt x="320" y="780"/>
                      </a:lnTo>
                      <a:lnTo>
                        <a:pt x="320" y="780"/>
                      </a:lnTo>
                      <a:lnTo>
                        <a:pt x="262" y="766"/>
                      </a:lnTo>
                      <a:lnTo>
                        <a:pt x="236" y="760"/>
                      </a:lnTo>
                      <a:lnTo>
                        <a:pt x="222" y="760"/>
                      </a:lnTo>
                      <a:lnTo>
                        <a:pt x="222" y="760"/>
                      </a:lnTo>
                      <a:lnTo>
                        <a:pt x="152" y="772"/>
                      </a:lnTo>
                      <a:lnTo>
                        <a:pt x="78" y="806"/>
                      </a:lnTo>
                      <a:lnTo>
                        <a:pt x="78" y="806"/>
                      </a:lnTo>
                      <a:lnTo>
                        <a:pt x="64" y="818"/>
                      </a:lnTo>
                      <a:lnTo>
                        <a:pt x="52" y="826"/>
                      </a:lnTo>
                      <a:lnTo>
                        <a:pt x="44" y="834"/>
                      </a:lnTo>
                      <a:lnTo>
                        <a:pt x="44" y="834"/>
                      </a:lnTo>
                      <a:lnTo>
                        <a:pt x="40" y="842"/>
                      </a:lnTo>
                      <a:lnTo>
                        <a:pt x="36" y="852"/>
                      </a:lnTo>
                      <a:lnTo>
                        <a:pt x="32" y="862"/>
                      </a:lnTo>
                      <a:lnTo>
                        <a:pt x="16" y="888"/>
                      </a:lnTo>
                      <a:lnTo>
                        <a:pt x="14" y="922"/>
                      </a:lnTo>
                      <a:lnTo>
                        <a:pt x="2" y="958"/>
                      </a:lnTo>
                      <a:lnTo>
                        <a:pt x="2" y="958"/>
                      </a:lnTo>
                      <a:lnTo>
                        <a:pt x="2" y="960"/>
                      </a:lnTo>
                      <a:lnTo>
                        <a:pt x="0" y="968"/>
                      </a:lnTo>
                      <a:lnTo>
                        <a:pt x="2" y="980"/>
                      </a:lnTo>
                      <a:lnTo>
                        <a:pt x="6" y="986"/>
                      </a:lnTo>
                      <a:lnTo>
                        <a:pt x="10" y="992"/>
                      </a:lnTo>
                      <a:lnTo>
                        <a:pt x="10" y="992"/>
                      </a:lnTo>
                      <a:lnTo>
                        <a:pt x="18" y="1004"/>
                      </a:lnTo>
                      <a:lnTo>
                        <a:pt x="20" y="1012"/>
                      </a:lnTo>
                      <a:lnTo>
                        <a:pt x="18" y="1016"/>
                      </a:lnTo>
                      <a:lnTo>
                        <a:pt x="18" y="1018"/>
                      </a:lnTo>
                      <a:lnTo>
                        <a:pt x="18" y="1018"/>
                      </a:lnTo>
                      <a:lnTo>
                        <a:pt x="18" y="1032"/>
                      </a:lnTo>
                      <a:lnTo>
                        <a:pt x="490" y="1032"/>
                      </a:lnTo>
                      <a:lnTo>
                        <a:pt x="490" y="1032"/>
                      </a:lnTo>
                      <a:lnTo>
                        <a:pt x="512" y="1014"/>
                      </a:lnTo>
                      <a:lnTo>
                        <a:pt x="498" y="1032"/>
                      </a:lnTo>
                      <a:lnTo>
                        <a:pt x="1376" y="1032"/>
                      </a:lnTo>
                      <a:lnTo>
                        <a:pt x="1388" y="1020"/>
                      </a:lnTo>
                      <a:lnTo>
                        <a:pt x="1498" y="904"/>
                      </a:lnTo>
                      <a:lnTo>
                        <a:pt x="1546" y="842"/>
                      </a:lnTo>
                      <a:lnTo>
                        <a:pt x="1562" y="816"/>
                      </a:lnTo>
                      <a:lnTo>
                        <a:pt x="1562" y="816"/>
                      </a:lnTo>
                      <a:lnTo>
                        <a:pt x="1564" y="812"/>
                      </a:lnTo>
                      <a:lnTo>
                        <a:pt x="1568" y="806"/>
                      </a:lnTo>
                      <a:lnTo>
                        <a:pt x="1568" y="784"/>
                      </a:lnTo>
                      <a:close/>
                      <a:moveTo>
                        <a:pt x="656" y="838"/>
                      </a:moveTo>
                      <a:lnTo>
                        <a:pt x="656" y="838"/>
                      </a:lnTo>
                      <a:lnTo>
                        <a:pt x="656" y="836"/>
                      </a:lnTo>
                      <a:lnTo>
                        <a:pt x="656" y="838"/>
                      </a:lnTo>
                      <a:lnTo>
                        <a:pt x="656" y="838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9000"/>
                  </a:schemeClr>
                </a:solidFill>
                <a:ln w="9525">
                  <a:solidFill>
                    <a:srgbClr val="FEFFFF">
                      <a:alpha val="12000"/>
                    </a:srgbClr>
                  </a:solidFill>
                  <a:round/>
                  <a:headEnd/>
                  <a:tailEnd/>
                </a:ln>
                <a:effectLst>
                  <a:glow rad="63500">
                    <a:schemeClr val="bg2">
                      <a:lumMod val="60000"/>
                      <a:lumOff val="40000"/>
                      <a:alpha val="11000"/>
                    </a:schemeClr>
                  </a:glow>
                  <a:softEdge rad="12700"/>
                </a:effectLst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6" name="Group 102"/>
              <p:cNvGrpSpPr>
                <a:grpSpLocks noChangeAspect="1"/>
              </p:cNvGrpSpPr>
              <p:nvPr/>
            </p:nvGrpSpPr>
            <p:grpSpPr>
              <a:xfrm>
                <a:off x="7848593" y="1524004"/>
                <a:ext cx="1295399" cy="1685580"/>
                <a:chOff x="7315200" y="5334000"/>
                <a:chExt cx="1054100" cy="1371600"/>
              </a:xfrm>
              <a:solidFill>
                <a:schemeClr val="bg2">
                  <a:lumMod val="50000"/>
                  <a:lumOff val="50000"/>
                  <a:alpha val="8000"/>
                </a:schemeClr>
              </a:solidFill>
            </p:grpSpPr>
            <p:sp>
              <p:nvSpPr>
                <p:cNvPr id="192" name="Freeform 70"/>
                <p:cNvSpPr>
                  <a:spLocks/>
                </p:cNvSpPr>
                <p:nvPr/>
              </p:nvSpPr>
              <p:spPr bwMode="auto">
                <a:xfrm>
                  <a:off x="7810500" y="5715000"/>
                  <a:ext cx="241300" cy="158750"/>
                </a:xfrm>
                <a:custGeom>
                  <a:avLst/>
                  <a:gdLst>
                    <a:gd name="T0" fmla="*/ 152 w 152"/>
                    <a:gd name="T1" fmla="*/ 100 h 100"/>
                    <a:gd name="T2" fmla="*/ 152 w 152"/>
                    <a:gd name="T3" fmla="*/ 100 h 100"/>
                    <a:gd name="T4" fmla="*/ 152 w 152"/>
                    <a:gd name="T5" fmla="*/ 100 h 100"/>
                    <a:gd name="T6" fmla="*/ 152 w 152"/>
                    <a:gd name="T7" fmla="*/ 100 h 100"/>
                    <a:gd name="T8" fmla="*/ 138 w 152"/>
                    <a:gd name="T9" fmla="*/ 90 h 100"/>
                    <a:gd name="T10" fmla="*/ 34 w 152"/>
                    <a:gd name="T11" fmla="*/ 18 h 100"/>
                    <a:gd name="T12" fmla="*/ 34 w 152"/>
                    <a:gd name="T13" fmla="*/ 18 h 100"/>
                    <a:gd name="T14" fmla="*/ 16 w 152"/>
                    <a:gd name="T15" fmla="*/ 6 h 100"/>
                    <a:gd name="T16" fmla="*/ 16 w 152"/>
                    <a:gd name="T17" fmla="*/ 6 h 100"/>
                    <a:gd name="T18" fmla="*/ 10 w 152"/>
                    <a:gd name="T19" fmla="*/ 2 h 100"/>
                    <a:gd name="T20" fmla="*/ 4 w 152"/>
                    <a:gd name="T21" fmla="*/ 0 h 100"/>
                    <a:gd name="T22" fmla="*/ 4 w 152"/>
                    <a:gd name="T23" fmla="*/ 0 h 100"/>
                    <a:gd name="T24" fmla="*/ 0 w 152"/>
                    <a:gd name="T25" fmla="*/ 0 h 100"/>
                    <a:gd name="T26" fmla="*/ 0 w 152"/>
                    <a:gd name="T27" fmla="*/ 2 h 100"/>
                    <a:gd name="T28" fmla="*/ 0 w 152"/>
                    <a:gd name="T29" fmla="*/ 2 h 100"/>
                    <a:gd name="T30" fmla="*/ 4 w 152"/>
                    <a:gd name="T31" fmla="*/ 6 h 100"/>
                    <a:gd name="T32" fmla="*/ 8 w 152"/>
                    <a:gd name="T33" fmla="*/ 8 h 100"/>
                    <a:gd name="T34" fmla="*/ 8 w 152"/>
                    <a:gd name="T35" fmla="*/ 8 h 100"/>
                    <a:gd name="T36" fmla="*/ 24 w 152"/>
                    <a:gd name="T37" fmla="*/ 18 h 100"/>
                    <a:gd name="T38" fmla="*/ 138 w 152"/>
                    <a:gd name="T39" fmla="*/ 92 h 100"/>
                    <a:gd name="T40" fmla="*/ 138 w 152"/>
                    <a:gd name="T41" fmla="*/ 92 h 100"/>
                    <a:gd name="T42" fmla="*/ 152 w 152"/>
                    <a:gd name="T43" fmla="*/ 100 h 100"/>
                    <a:gd name="T44" fmla="*/ 152 w 152"/>
                    <a:gd name="T45" fmla="*/ 100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52" h="100">
                      <a:moveTo>
                        <a:pt x="152" y="100"/>
                      </a:moveTo>
                      <a:lnTo>
                        <a:pt x="152" y="100"/>
                      </a:lnTo>
                      <a:lnTo>
                        <a:pt x="152" y="100"/>
                      </a:lnTo>
                      <a:lnTo>
                        <a:pt x="152" y="100"/>
                      </a:lnTo>
                      <a:lnTo>
                        <a:pt x="138" y="90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0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4" y="6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24" y="18"/>
                      </a:lnTo>
                      <a:lnTo>
                        <a:pt x="138" y="92"/>
                      </a:lnTo>
                      <a:lnTo>
                        <a:pt x="138" y="92"/>
                      </a:lnTo>
                      <a:lnTo>
                        <a:pt x="152" y="100"/>
                      </a:lnTo>
                      <a:lnTo>
                        <a:pt x="152" y="10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3" name="Freeform 71"/>
                <p:cNvSpPr>
                  <a:spLocks/>
                </p:cNvSpPr>
                <p:nvPr/>
              </p:nvSpPr>
              <p:spPr bwMode="auto">
                <a:xfrm>
                  <a:off x="8054975" y="588010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4" name="Freeform 72"/>
                <p:cNvSpPr>
                  <a:spLocks/>
                </p:cNvSpPr>
                <p:nvPr/>
              </p:nvSpPr>
              <p:spPr bwMode="auto">
                <a:xfrm>
                  <a:off x="8064500" y="5584825"/>
                  <a:ext cx="53975" cy="285750"/>
                </a:xfrm>
                <a:custGeom>
                  <a:avLst/>
                  <a:gdLst>
                    <a:gd name="T0" fmla="*/ 0 w 34"/>
                    <a:gd name="T1" fmla="*/ 178 h 180"/>
                    <a:gd name="T2" fmla="*/ 0 w 34"/>
                    <a:gd name="T3" fmla="*/ 178 h 180"/>
                    <a:gd name="T4" fmla="*/ 4 w 34"/>
                    <a:gd name="T5" fmla="*/ 162 h 180"/>
                    <a:gd name="T6" fmla="*/ 28 w 34"/>
                    <a:gd name="T7" fmla="*/ 30 h 180"/>
                    <a:gd name="T8" fmla="*/ 28 w 34"/>
                    <a:gd name="T9" fmla="*/ 30 h 180"/>
                    <a:gd name="T10" fmla="*/ 34 w 34"/>
                    <a:gd name="T11" fmla="*/ 10 h 180"/>
                    <a:gd name="T12" fmla="*/ 34 w 34"/>
                    <a:gd name="T13" fmla="*/ 10 h 180"/>
                    <a:gd name="T14" fmla="*/ 34 w 34"/>
                    <a:gd name="T15" fmla="*/ 6 h 180"/>
                    <a:gd name="T16" fmla="*/ 34 w 34"/>
                    <a:gd name="T17" fmla="*/ 2 h 180"/>
                    <a:gd name="T18" fmla="*/ 34 w 34"/>
                    <a:gd name="T19" fmla="*/ 2 h 180"/>
                    <a:gd name="T20" fmla="*/ 32 w 34"/>
                    <a:gd name="T21" fmla="*/ 0 h 180"/>
                    <a:gd name="T22" fmla="*/ 30 w 34"/>
                    <a:gd name="T23" fmla="*/ 2 h 180"/>
                    <a:gd name="T24" fmla="*/ 30 w 34"/>
                    <a:gd name="T25" fmla="*/ 2 h 180"/>
                    <a:gd name="T26" fmla="*/ 28 w 34"/>
                    <a:gd name="T27" fmla="*/ 8 h 180"/>
                    <a:gd name="T28" fmla="*/ 26 w 34"/>
                    <a:gd name="T29" fmla="*/ 14 h 180"/>
                    <a:gd name="T30" fmla="*/ 26 w 34"/>
                    <a:gd name="T31" fmla="*/ 14 h 180"/>
                    <a:gd name="T32" fmla="*/ 22 w 34"/>
                    <a:gd name="T33" fmla="*/ 38 h 180"/>
                    <a:gd name="T34" fmla="*/ 2 w 34"/>
                    <a:gd name="T35" fmla="*/ 162 h 180"/>
                    <a:gd name="T36" fmla="*/ 2 w 34"/>
                    <a:gd name="T37" fmla="*/ 162 h 180"/>
                    <a:gd name="T38" fmla="*/ 0 w 34"/>
                    <a:gd name="T39" fmla="*/ 178 h 180"/>
                    <a:gd name="T40" fmla="*/ 0 w 34"/>
                    <a:gd name="T41" fmla="*/ 178 h 180"/>
                    <a:gd name="T42" fmla="*/ 0 w 34"/>
                    <a:gd name="T43" fmla="*/ 180 h 180"/>
                    <a:gd name="T44" fmla="*/ 0 w 34"/>
                    <a:gd name="T45" fmla="*/ 180 h 180"/>
                    <a:gd name="T46" fmla="*/ 0 w 34"/>
                    <a:gd name="T47" fmla="*/ 178 h 180"/>
                    <a:gd name="T48" fmla="*/ 0 w 34"/>
                    <a:gd name="T49" fmla="*/ 178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4" h="180">
                      <a:moveTo>
                        <a:pt x="0" y="178"/>
                      </a:moveTo>
                      <a:lnTo>
                        <a:pt x="0" y="178"/>
                      </a:lnTo>
                      <a:lnTo>
                        <a:pt x="4" y="162"/>
                      </a:lnTo>
                      <a:lnTo>
                        <a:pt x="28" y="30"/>
                      </a:lnTo>
                      <a:lnTo>
                        <a:pt x="28" y="3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6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2" y="0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28" y="8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2" y="38"/>
                      </a:lnTo>
                      <a:lnTo>
                        <a:pt x="2" y="162"/>
                      </a:lnTo>
                      <a:lnTo>
                        <a:pt x="2" y="162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0" y="180"/>
                      </a:lnTo>
                      <a:lnTo>
                        <a:pt x="0" y="180"/>
                      </a:lnTo>
                      <a:lnTo>
                        <a:pt x="0" y="178"/>
                      </a:lnTo>
                      <a:lnTo>
                        <a:pt x="0" y="17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5" name="Freeform 73"/>
                <p:cNvSpPr>
                  <a:spLocks noEditPoints="1"/>
                </p:cNvSpPr>
                <p:nvPr/>
              </p:nvSpPr>
              <p:spPr bwMode="auto">
                <a:xfrm>
                  <a:off x="7315200" y="5334000"/>
                  <a:ext cx="1054100" cy="1371600"/>
                </a:xfrm>
                <a:custGeom>
                  <a:avLst/>
                  <a:gdLst>
                    <a:gd name="T0" fmla="*/ 582 w 664"/>
                    <a:gd name="T1" fmla="*/ 488 h 864"/>
                    <a:gd name="T2" fmla="*/ 664 w 664"/>
                    <a:gd name="T3" fmla="*/ 356 h 864"/>
                    <a:gd name="T4" fmla="*/ 664 w 664"/>
                    <a:gd name="T5" fmla="*/ 0 h 864"/>
                    <a:gd name="T6" fmla="*/ 608 w 664"/>
                    <a:gd name="T7" fmla="*/ 50 h 864"/>
                    <a:gd name="T8" fmla="*/ 548 w 664"/>
                    <a:gd name="T9" fmla="*/ 146 h 864"/>
                    <a:gd name="T10" fmla="*/ 508 w 664"/>
                    <a:gd name="T11" fmla="*/ 294 h 864"/>
                    <a:gd name="T12" fmla="*/ 498 w 664"/>
                    <a:gd name="T13" fmla="*/ 358 h 864"/>
                    <a:gd name="T14" fmla="*/ 490 w 664"/>
                    <a:gd name="T15" fmla="*/ 342 h 864"/>
                    <a:gd name="T16" fmla="*/ 476 w 664"/>
                    <a:gd name="T17" fmla="*/ 338 h 864"/>
                    <a:gd name="T18" fmla="*/ 472 w 664"/>
                    <a:gd name="T19" fmla="*/ 338 h 864"/>
                    <a:gd name="T20" fmla="*/ 464 w 664"/>
                    <a:gd name="T21" fmla="*/ 338 h 864"/>
                    <a:gd name="T22" fmla="*/ 464 w 664"/>
                    <a:gd name="T23" fmla="*/ 344 h 864"/>
                    <a:gd name="T24" fmla="*/ 454 w 664"/>
                    <a:gd name="T25" fmla="*/ 350 h 864"/>
                    <a:gd name="T26" fmla="*/ 458 w 664"/>
                    <a:gd name="T27" fmla="*/ 362 h 864"/>
                    <a:gd name="T28" fmla="*/ 456 w 664"/>
                    <a:gd name="T29" fmla="*/ 376 h 864"/>
                    <a:gd name="T30" fmla="*/ 336 w 664"/>
                    <a:gd name="T31" fmla="*/ 294 h 864"/>
                    <a:gd name="T32" fmla="*/ 204 w 664"/>
                    <a:gd name="T33" fmla="*/ 246 h 864"/>
                    <a:gd name="T34" fmla="*/ 116 w 664"/>
                    <a:gd name="T35" fmla="*/ 242 h 864"/>
                    <a:gd name="T36" fmla="*/ 8 w 664"/>
                    <a:gd name="T37" fmla="*/ 282 h 864"/>
                    <a:gd name="T38" fmla="*/ 28 w 664"/>
                    <a:gd name="T39" fmla="*/ 358 h 864"/>
                    <a:gd name="T40" fmla="*/ 46 w 664"/>
                    <a:gd name="T41" fmla="*/ 368 h 864"/>
                    <a:gd name="T42" fmla="*/ 64 w 664"/>
                    <a:gd name="T43" fmla="*/ 380 h 864"/>
                    <a:gd name="T44" fmla="*/ 92 w 664"/>
                    <a:gd name="T45" fmla="*/ 390 h 864"/>
                    <a:gd name="T46" fmla="*/ 112 w 664"/>
                    <a:gd name="T47" fmla="*/ 406 h 864"/>
                    <a:gd name="T48" fmla="*/ 130 w 664"/>
                    <a:gd name="T49" fmla="*/ 430 h 864"/>
                    <a:gd name="T50" fmla="*/ 142 w 664"/>
                    <a:gd name="T51" fmla="*/ 438 h 864"/>
                    <a:gd name="T52" fmla="*/ 152 w 664"/>
                    <a:gd name="T53" fmla="*/ 456 h 864"/>
                    <a:gd name="T54" fmla="*/ 170 w 664"/>
                    <a:gd name="T55" fmla="*/ 474 h 864"/>
                    <a:gd name="T56" fmla="*/ 186 w 664"/>
                    <a:gd name="T57" fmla="*/ 490 h 864"/>
                    <a:gd name="T58" fmla="*/ 224 w 664"/>
                    <a:gd name="T59" fmla="*/ 516 h 864"/>
                    <a:gd name="T60" fmla="*/ 268 w 664"/>
                    <a:gd name="T61" fmla="*/ 512 h 864"/>
                    <a:gd name="T62" fmla="*/ 350 w 664"/>
                    <a:gd name="T63" fmla="*/ 482 h 864"/>
                    <a:gd name="T64" fmla="*/ 302 w 664"/>
                    <a:gd name="T65" fmla="*/ 566 h 864"/>
                    <a:gd name="T66" fmla="*/ 302 w 664"/>
                    <a:gd name="T67" fmla="*/ 586 h 864"/>
                    <a:gd name="T68" fmla="*/ 344 w 664"/>
                    <a:gd name="T69" fmla="*/ 630 h 864"/>
                    <a:gd name="T70" fmla="*/ 384 w 664"/>
                    <a:gd name="T71" fmla="*/ 646 h 864"/>
                    <a:gd name="T72" fmla="*/ 404 w 664"/>
                    <a:gd name="T73" fmla="*/ 662 h 864"/>
                    <a:gd name="T74" fmla="*/ 434 w 664"/>
                    <a:gd name="T75" fmla="*/ 676 h 864"/>
                    <a:gd name="T76" fmla="*/ 460 w 664"/>
                    <a:gd name="T77" fmla="*/ 704 h 864"/>
                    <a:gd name="T78" fmla="*/ 472 w 664"/>
                    <a:gd name="T79" fmla="*/ 740 h 864"/>
                    <a:gd name="T80" fmla="*/ 460 w 664"/>
                    <a:gd name="T81" fmla="*/ 788 h 864"/>
                    <a:gd name="T82" fmla="*/ 452 w 664"/>
                    <a:gd name="T83" fmla="*/ 824 h 864"/>
                    <a:gd name="T84" fmla="*/ 466 w 664"/>
                    <a:gd name="T85" fmla="*/ 864 h 864"/>
                    <a:gd name="T86" fmla="*/ 476 w 664"/>
                    <a:gd name="T87" fmla="*/ 860 h 864"/>
                    <a:gd name="T88" fmla="*/ 492 w 664"/>
                    <a:gd name="T89" fmla="*/ 792 h 864"/>
                    <a:gd name="T90" fmla="*/ 506 w 664"/>
                    <a:gd name="T91" fmla="*/ 770 h 864"/>
                    <a:gd name="T92" fmla="*/ 520 w 664"/>
                    <a:gd name="T93" fmla="*/ 726 h 864"/>
                    <a:gd name="T94" fmla="*/ 504 w 664"/>
                    <a:gd name="T95" fmla="*/ 578 h 864"/>
                    <a:gd name="T96" fmla="*/ 494 w 664"/>
                    <a:gd name="T97" fmla="*/ 502 h 864"/>
                    <a:gd name="T98" fmla="*/ 518 w 664"/>
                    <a:gd name="T99" fmla="*/ 508 h 864"/>
                    <a:gd name="T100" fmla="*/ 542 w 664"/>
                    <a:gd name="T101" fmla="*/ 568 h 864"/>
                    <a:gd name="T102" fmla="*/ 570 w 664"/>
                    <a:gd name="T103" fmla="*/ 620 h 864"/>
                    <a:gd name="T104" fmla="*/ 598 w 664"/>
                    <a:gd name="T105" fmla="*/ 590 h 864"/>
                    <a:gd name="T106" fmla="*/ 582 w 664"/>
                    <a:gd name="T107" fmla="*/ 548 h 864"/>
                    <a:gd name="T108" fmla="*/ 550 w 664"/>
                    <a:gd name="T109" fmla="*/ 484 h 864"/>
                    <a:gd name="T110" fmla="*/ 566 w 664"/>
                    <a:gd name="T111" fmla="*/ 472 h 864"/>
                    <a:gd name="T112" fmla="*/ 466 w 664"/>
                    <a:gd name="T113" fmla="*/ 344 h 8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64" h="864">
                      <a:moveTo>
                        <a:pt x="566" y="472"/>
                      </a:moveTo>
                      <a:lnTo>
                        <a:pt x="566" y="472"/>
                      </a:lnTo>
                      <a:lnTo>
                        <a:pt x="568" y="472"/>
                      </a:lnTo>
                      <a:lnTo>
                        <a:pt x="572" y="476"/>
                      </a:lnTo>
                      <a:lnTo>
                        <a:pt x="582" y="488"/>
                      </a:lnTo>
                      <a:lnTo>
                        <a:pt x="612" y="532"/>
                      </a:lnTo>
                      <a:lnTo>
                        <a:pt x="660" y="604"/>
                      </a:lnTo>
                      <a:lnTo>
                        <a:pt x="660" y="604"/>
                      </a:lnTo>
                      <a:lnTo>
                        <a:pt x="664" y="608"/>
                      </a:lnTo>
                      <a:lnTo>
                        <a:pt x="664" y="356"/>
                      </a:lnTo>
                      <a:lnTo>
                        <a:pt x="664" y="356"/>
                      </a:lnTo>
                      <a:lnTo>
                        <a:pt x="650" y="354"/>
                      </a:lnTo>
                      <a:lnTo>
                        <a:pt x="650" y="354"/>
                      </a:lnTo>
                      <a:lnTo>
                        <a:pt x="664" y="346"/>
                      </a:lnTo>
                      <a:lnTo>
                        <a:pt x="664" y="0"/>
                      </a:lnTo>
                      <a:lnTo>
                        <a:pt x="664" y="0"/>
                      </a:lnTo>
                      <a:lnTo>
                        <a:pt x="638" y="20"/>
                      </a:lnTo>
                      <a:lnTo>
                        <a:pt x="624" y="34"/>
                      </a:lnTo>
                      <a:lnTo>
                        <a:pt x="608" y="50"/>
                      </a:lnTo>
                      <a:lnTo>
                        <a:pt x="608" y="50"/>
                      </a:lnTo>
                      <a:lnTo>
                        <a:pt x="594" y="68"/>
                      </a:lnTo>
                      <a:lnTo>
                        <a:pt x="580" y="86"/>
                      </a:lnTo>
                      <a:lnTo>
                        <a:pt x="568" y="104"/>
                      </a:lnTo>
                      <a:lnTo>
                        <a:pt x="558" y="124"/>
                      </a:lnTo>
                      <a:lnTo>
                        <a:pt x="548" y="146"/>
                      </a:lnTo>
                      <a:lnTo>
                        <a:pt x="540" y="166"/>
                      </a:lnTo>
                      <a:lnTo>
                        <a:pt x="524" y="214"/>
                      </a:lnTo>
                      <a:lnTo>
                        <a:pt x="524" y="214"/>
                      </a:lnTo>
                      <a:lnTo>
                        <a:pt x="514" y="254"/>
                      </a:lnTo>
                      <a:lnTo>
                        <a:pt x="508" y="294"/>
                      </a:lnTo>
                      <a:lnTo>
                        <a:pt x="504" y="330"/>
                      </a:lnTo>
                      <a:lnTo>
                        <a:pt x="502" y="356"/>
                      </a:lnTo>
                      <a:lnTo>
                        <a:pt x="502" y="356"/>
                      </a:lnTo>
                      <a:lnTo>
                        <a:pt x="498" y="358"/>
                      </a:lnTo>
                      <a:lnTo>
                        <a:pt x="498" y="358"/>
                      </a:lnTo>
                      <a:lnTo>
                        <a:pt x="490" y="350"/>
                      </a:lnTo>
                      <a:lnTo>
                        <a:pt x="490" y="350"/>
                      </a:lnTo>
                      <a:lnTo>
                        <a:pt x="490" y="346"/>
                      </a:lnTo>
                      <a:lnTo>
                        <a:pt x="490" y="342"/>
                      </a:lnTo>
                      <a:lnTo>
                        <a:pt x="490" y="342"/>
                      </a:lnTo>
                      <a:lnTo>
                        <a:pt x="488" y="340"/>
                      </a:lnTo>
                      <a:lnTo>
                        <a:pt x="484" y="338"/>
                      </a:lnTo>
                      <a:lnTo>
                        <a:pt x="480" y="336"/>
                      </a:lnTo>
                      <a:lnTo>
                        <a:pt x="476" y="338"/>
                      </a:lnTo>
                      <a:lnTo>
                        <a:pt x="476" y="338"/>
                      </a:lnTo>
                      <a:lnTo>
                        <a:pt x="476" y="338"/>
                      </a:lnTo>
                      <a:lnTo>
                        <a:pt x="476" y="336"/>
                      </a:lnTo>
                      <a:lnTo>
                        <a:pt x="474" y="336"/>
                      </a:lnTo>
                      <a:lnTo>
                        <a:pt x="472" y="338"/>
                      </a:lnTo>
                      <a:lnTo>
                        <a:pt x="472" y="338"/>
                      </a:lnTo>
                      <a:lnTo>
                        <a:pt x="468" y="336"/>
                      </a:lnTo>
                      <a:lnTo>
                        <a:pt x="468" y="336"/>
                      </a:lnTo>
                      <a:lnTo>
                        <a:pt x="468" y="336"/>
                      </a:lnTo>
                      <a:lnTo>
                        <a:pt x="466" y="338"/>
                      </a:lnTo>
                      <a:lnTo>
                        <a:pt x="464" y="338"/>
                      </a:lnTo>
                      <a:lnTo>
                        <a:pt x="464" y="340"/>
                      </a:lnTo>
                      <a:lnTo>
                        <a:pt x="462" y="340"/>
                      </a:lnTo>
                      <a:lnTo>
                        <a:pt x="462" y="342"/>
                      </a:lnTo>
                      <a:lnTo>
                        <a:pt x="464" y="344"/>
                      </a:lnTo>
                      <a:lnTo>
                        <a:pt x="464" y="344"/>
                      </a:lnTo>
                      <a:lnTo>
                        <a:pt x="464" y="344"/>
                      </a:lnTo>
                      <a:lnTo>
                        <a:pt x="460" y="344"/>
                      </a:lnTo>
                      <a:lnTo>
                        <a:pt x="460" y="344"/>
                      </a:lnTo>
                      <a:lnTo>
                        <a:pt x="456" y="346"/>
                      </a:lnTo>
                      <a:lnTo>
                        <a:pt x="454" y="350"/>
                      </a:lnTo>
                      <a:lnTo>
                        <a:pt x="454" y="354"/>
                      </a:lnTo>
                      <a:lnTo>
                        <a:pt x="456" y="358"/>
                      </a:lnTo>
                      <a:lnTo>
                        <a:pt x="456" y="358"/>
                      </a:lnTo>
                      <a:lnTo>
                        <a:pt x="458" y="362"/>
                      </a:lnTo>
                      <a:lnTo>
                        <a:pt x="458" y="362"/>
                      </a:lnTo>
                      <a:lnTo>
                        <a:pt x="458" y="370"/>
                      </a:lnTo>
                      <a:lnTo>
                        <a:pt x="458" y="374"/>
                      </a:lnTo>
                      <a:lnTo>
                        <a:pt x="458" y="374"/>
                      </a:lnTo>
                      <a:lnTo>
                        <a:pt x="456" y="376"/>
                      </a:lnTo>
                      <a:lnTo>
                        <a:pt x="456" y="376"/>
                      </a:lnTo>
                      <a:lnTo>
                        <a:pt x="434" y="360"/>
                      </a:lnTo>
                      <a:lnTo>
                        <a:pt x="406" y="338"/>
                      </a:lnTo>
                      <a:lnTo>
                        <a:pt x="372" y="314"/>
                      </a:lnTo>
                      <a:lnTo>
                        <a:pt x="336" y="294"/>
                      </a:lnTo>
                      <a:lnTo>
                        <a:pt x="336" y="294"/>
                      </a:lnTo>
                      <a:lnTo>
                        <a:pt x="292" y="272"/>
                      </a:lnTo>
                      <a:lnTo>
                        <a:pt x="270" y="264"/>
                      </a:lnTo>
                      <a:lnTo>
                        <a:pt x="248" y="256"/>
                      </a:lnTo>
                      <a:lnTo>
                        <a:pt x="226" y="250"/>
                      </a:lnTo>
                      <a:lnTo>
                        <a:pt x="204" y="246"/>
                      </a:lnTo>
                      <a:lnTo>
                        <a:pt x="182" y="244"/>
                      </a:lnTo>
                      <a:lnTo>
                        <a:pt x="160" y="242"/>
                      </a:lnTo>
                      <a:lnTo>
                        <a:pt x="160" y="242"/>
                      </a:lnTo>
                      <a:lnTo>
                        <a:pt x="138" y="242"/>
                      </a:lnTo>
                      <a:lnTo>
                        <a:pt x="116" y="242"/>
                      </a:lnTo>
                      <a:lnTo>
                        <a:pt x="84" y="248"/>
                      </a:lnTo>
                      <a:lnTo>
                        <a:pt x="62" y="252"/>
                      </a:lnTo>
                      <a:lnTo>
                        <a:pt x="56" y="256"/>
                      </a:lnTo>
                      <a:lnTo>
                        <a:pt x="30" y="266"/>
                      </a:lnTo>
                      <a:lnTo>
                        <a:pt x="8" y="282"/>
                      </a:lnTo>
                      <a:lnTo>
                        <a:pt x="0" y="296"/>
                      </a:lnTo>
                      <a:lnTo>
                        <a:pt x="0" y="324"/>
                      </a:lnTo>
                      <a:lnTo>
                        <a:pt x="2" y="330"/>
                      </a:lnTo>
                      <a:lnTo>
                        <a:pt x="14" y="344"/>
                      </a:lnTo>
                      <a:lnTo>
                        <a:pt x="28" y="358"/>
                      </a:lnTo>
                      <a:lnTo>
                        <a:pt x="28" y="358"/>
                      </a:lnTo>
                      <a:lnTo>
                        <a:pt x="36" y="364"/>
                      </a:lnTo>
                      <a:lnTo>
                        <a:pt x="42" y="366"/>
                      </a:lnTo>
                      <a:lnTo>
                        <a:pt x="46" y="368"/>
                      </a:lnTo>
                      <a:lnTo>
                        <a:pt x="46" y="368"/>
                      </a:lnTo>
                      <a:lnTo>
                        <a:pt x="52" y="368"/>
                      </a:lnTo>
                      <a:lnTo>
                        <a:pt x="56" y="372"/>
                      </a:lnTo>
                      <a:lnTo>
                        <a:pt x="60" y="376"/>
                      </a:lnTo>
                      <a:lnTo>
                        <a:pt x="60" y="376"/>
                      </a:lnTo>
                      <a:lnTo>
                        <a:pt x="64" y="380"/>
                      </a:lnTo>
                      <a:lnTo>
                        <a:pt x="70" y="384"/>
                      </a:lnTo>
                      <a:lnTo>
                        <a:pt x="78" y="386"/>
                      </a:lnTo>
                      <a:lnTo>
                        <a:pt x="78" y="386"/>
                      </a:lnTo>
                      <a:lnTo>
                        <a:pt x="84" y="386"/>
                      </a:lnTo>
                      <a:lnTo>
                        <a:pt x="92" y="390"/>
                      </a:lnTo>
                      <a:lnTo>
                        <a:pt x="98" y="394"/>
                      </a:lnTo>
                      <a:lnTo>
                        <a:pt x="100" y="398"/>
                      </a:lnTo>
                      <a:lnTo>
                        <a:pt x="100" y="398"/>
                      </a:lnTo>
                      <a:lnTo>
                        <a:pt x="104" y="402"/>
                      </a:lnTo>
                      <a:lnTo>
                        <a:pt x="112" y="406"/>
                      </a:lnTo>
                      <a:lnTo>
                        <a:pt x="120" y="410"/>
                      </a:lnTo>
                      <a:lnTo>
                        <a:pt x="120" y="410"/>
                      </a:lnTo>
                      <a:lnTo>
                        <a:pt x="126" y="418"/>
                      </a:lnTo>
                      <a:lnTo>
                        <a:pt x="130" y="426"/>
                      </a:lnTo>
                      <a:lnTo>
                        <a:pt x="130" y="430"/>
                      </a:lnTo>
                      <a:lnTo>
                        <a:pt x="130" y="430"/>
                      </a:lnTo>
                      <a:lnTo>
                        <a:pt x="132" y="434"/>
                      </a:lnTo>
                      <a:lnTo>
                        <a:pt x="136" y="436"/>
                      </a:lnTo>
                      <a:lnTo>
                        <a:pt x="142" y="438"/>
                      </a:lnTo>
                      <a:lnTo>
                        <a:pt x="142" y="438"/>
                      </a:lnTo>
                      <a:lnTo>
                        <a:pt x="146" y="442"/>
                      </a:lnTo>
                      <a:lnTo>
                        <a:pt x="150" y="446"/>
                      </a:lnTo>
                      <a:lnTo>
                        <a:pt x="152" y="452"/>
                      </a:lnTo>
                      <a:lnTo>
                        <a:pt x="152" y="452"/>
                      </a:lnTo>
                      <a:lnTo>
                        <a:pt x="152" y="456"/>
                      </a:lnTo>
                      <a:lnTo>
                        <a:pt x="154" y="458"/>
                      </a:lnTo>
                      <a:lnTo>
                        <a:pt x="158" y="466"/>
                      </a:lnTo>
                      <a:lnTo>
                        <a:pt x="166" y="472"/>
                      </a:lnTo>
                      <a:lnTo>
                        <a:pt x="170" y="474"/>
                      </a:lnTo>
                      <a:lnTo>
                        <a:pt x="170" y="474"/>
                      </a:lnTo>
                      <a:lnTo>
                        <a:pt x="174" y="476"/>
                      </a:lnTo>
                      <a:lnTo>
                        <a:pt x="178" y="480"/>
                      </a:lnTo>
                      <a:lnTo>
                        <a:pt x="182" y="486"/>
                      </a:lnTo>
                      <a:lnTo>
                        <a:pt x="182" y="486"/>
                      </a:lnTo>
                      <a:lnTo>
                        <a:pt x="186" y="490"/>
                      </a:lnTo>
                      <a:lnTo>
                        <a:pt x="192" y="494"/>
                      </a:lnTo>
                      <a:lnTo>
                        <a:pt x="200" y="500"/>
                      </a:lnTo>
                      <a:lnTo>
                        <a:pt x="200" y="500"/>
                      </a:lnTo>
                      <a:lnTo>
                        <a:pt x="216" y="510"/>
                      </a:lnTo>
                      <a:lnTo>
                        <a:pt x="224" y="516"/>
                      </a:lnTo>
                      <a:lnTo>
                        <a:pt x="224" y="516"/>
                      </a:lnTo>
                      <a:lnTo>
                        <a:pt x="230" y="518"/>
                      </a:lnTo>
                      <a:lnTo>
                        <a:pt x="238" y="518"/>
                      </a:lnTo>
                      <a:lnTo>
                        <a:pt x="246" y="518"/>
                      </a:lnTo>
                      <a:lnTo>
                        <a:pt x="268" y="512"/>
                      </a:lnTo>
                      <a:lnTo>
                        <a:pt x="288" y="504"/>
                      </a:lnTo>
                      <a:lnTo>
                        <a:pt x="306" y="496"/>
                      </a:lnTo>
                      <a:lnTo>
                        <a:pt x="332" y="486"/>
                      </a:lnTo>
                      <a:lnTo>
                        <a:pt x="350" y="482"/>
                      </a:lnTo>
                      <a:lnTo>
                        <a:pt x="350" y="482"/>
                      </a:lnTo>
                      <a:lnTo>
                        <a:pt x="350" y="482"/>
                      </a:lnTo>
                      <a:lnTo>
                        <a:pt x="334" y="504"/>
                      </a:lnTo>
                      <a:lnTo>
                        <a:pt x="320" y="526"/>
                      </a:lnTo>
                      <a:lnTo>
                        <a:pt x="320" y="526"/>
                      </a:lnTo>
                      <a:lnTo>
                        <a:pt x="302" y="566"/>
                      </a:lnTo>
                      <a:lnTo>
                        <a:pt x="298" y="576"/>
                      </a:lnTo>
                      <a:lnTo>
                        <a:pt x="298" y="582"/>
                      </a:lnTo>
                      <a:lnTo>
                        <a:pt x="298" y="586"/>
                      </a:lnTo>
                      <a:lnTo>
                        <a:pt x="300" y="586"/>
                      </a:lnTo>
                      <a:lnTo>
                        <a:pt x="302" y="586"/>
                      </a:lnTo>
                      <a:lnTo>
                        <a:pt x="310" y="598"/>
                      </a:lnTo>
                      <a:lnTo>
                        <a:pt x="310" y="598"/>
                      </a:lnTo>
                      <a:lnTo>
                        <a:pt x="318" y="604"/>
                      </a:lnTo>
                      <a:lnTo>
                        <a:pt x="334" y="622"/>
                      </a:lnTo>
                      <a:lnTo>
                        <a:pt x="344" y="630"/>
                      </a:lnTo>
                      <a:lnTo>
                        <a:pt x="356" y="638"/>
                      </a:lnTo>
                      <a:lnTo>
                        <a:pt x="366" y="644"/>
                      </a:lnTo>
                      <a:lnTo>
                        <a:pt x="376" y="646"/>
                      </a:lnTo>
                      <a:lnTo>
                        <a:pt x="376" y="646"/>
                      </a:lnTo>
                      <a:lnTo>
                        <a:pt x="384" y="646"/>
                      </a:lnTo>
                      <a:lnTo>
                        <a:pt x="390" y="648"/>
                      </a:lnTo>
                      <a:lnTo>
                        <a:pt x="396" y="650"/>
                      </a:lnTo>
                      <a:lnTo>
                        <a:pt x="398" y="654"/>
                      </a:lnTo>
                      <a:lnTo>
                        <a:pt x="402" y="660"/>
                      </a:lnTo>
                      <a:lnTo>
                        <a:pt x="404" y="662"/>
                      </a:lnTo>
                      <a:lnTo>
                        <a:pt x="404" y="662"/>
                      </a:lnTo>
                      <a:lnTo>
                        <a:pt x="414" y="670"/>
                      </a:lnTo>
                      <a:lnTo>
                        <a:pt x="424" y="676"/>
                      </a:lnTo>
                      <a:lnTo>
                        <a:pt x="428" y="678"/>
                      </a:lnTo>
                      <a:lnTo>
                        <a:pt x="434" y="676"/>
                      </a:lnTo>
                      <a:lnTo>
                        <a:pt x="434" y="676"/>
                      </a:lnTo>
                      <a:lnTo>
                        <a:pt x="438" y="678"/>
                      </a:lnTo>
                      <a:lnTo>
                        <a:pt x="444" y="680"/>
                      </a:lnTo>
                      <a:lnTo>
                        <a:pt x="454" y="692"/>
                      </a:lnTo>
                      <a:lnTo>
                        <a:pt x="460" y="704"/>
                      </a:lnTo>
                      <a:lnTo>
                        <a:pt x="464" y="710"/>
                      </a:lnTo>
                      <a:lnTo>
                        <a:pt x="464" y="710"/>
                      </a:lnTo>
                      <a:lnTo>
                        <a:pt x="466" y="716"/>
                      </a:lnTo>
                      <a:lnTo>
                        <a:pt x="470" y="730"/>
                      </a:lnTo>
                      <a:lnTo>
                        <a:pt x="472" y="740"/>
                      </a:lnTo>
                      <a:lnTo>
                        <a:pt x="472" y="750"/>
                      </a:lnTo>
                      <a:lnTo>
                        <a:pt x="470" y="760"/>
                      </a:lnTo>
                      <a:lnTo>
                        <a:pt x="468" y="770"/>
                      </a:lnTo>
                      <a:lnTo>
                        <a:pt x="468" y="770"/>
                      </a:lnTo>
                      <a:lnTo>
                        <a:pt x="460" y="788"/>
                      </a:lnTo>
                      <a:lnTo>
                        <a:pt x="456" y="800"/>
                      </a:lnTo>
                      <a:lnTo>
                        <a:pt x="454" y="810"/>
                      </a:lnTo>
                      <a:lnTo>
                        <a:pt x="454" y="810"/>
                      </a:lnTo>
                      <a:lnTo>
                        <a:pt x="452" y="816"/>
                      </a:lnTo>
                      <a:lnTo>
                        <a:pt x="452" y="824"/>
                      </a:lnTo>
                      <a:lnTo>
                        <a:pt x="454" y="832"/>
                      </a:lnTo>
                      <a:lnTo>
                        <a:pt x="454" y="832"/>
                      </a:lnTo>
                      <a:lnTo>
                        <a:pt x="458" y="852"/>
                      </a:lnTo>
                      <a:lnTo>
                        <a:pt x="462" y="858"/>
                      </a:lnTo>
                      <a:lnTo>
                        <a:pt x="466" y="864"/>
                      </a:lnTo>
                      <a:lnTo>
                        <a:pt x="466" y="864"/>
                      </a:lnTo>
                      <a:lnTo>
                        <a:pt x="468" y="864"/>
                      </a:lnTo>
                      <a:lnTo>
                        <a:pt x="472" y="864"/>
                      </a:lnTo>
                      <a:lnTo>
                        <a:pt x="472" y="864"/>
                      </a:lnTo>
                      <a:lnTo>
                        <a:pt x="476" y="860"/>
                      </a:lnTo>
                      <a:lnTo>
                        <a:pt x="480" y="858"/>
                      </a:lnTo>
                      <a:lnTo>
                        <a:pt x="496" y="810"/>
                      </a:lnTo>
                      <a:lnTo>
                        <a:pt x="490" y="798"/>
                      </a:lnTo>
                      <a:lnTo>
                        <a:pt x="490" y="798"/>
                      </a:lnTo>
                      <a:lnTo>
                        <a:pt x="492" y="792"/>
                      </a:lnTo>
                      <a:lnTo>
                        <a:pt x="494" y="786"/>
                      </a:lnTo>
                      <a:lnTo>
                        <a:pt x="498" y="784"/>
                      </a:lnTo>
                      <a:lnTo>
                        <a:pt x="498" y="784"/>
                      </a:lnTo>
                      <a:lnTo>
                        <a:pt x="502" y="778"/>
                      </a:lnTo>
                      <a:lnTo>
                        <a:pt x="506" y="770"/>
                      </a:lnTo>
                      <a:lnTo>
                        <a:pt x="508" y="758"/>
                      </a:lnTo>
                      <a:lnTo>
                        <a:pt x="508" y="758"/>
                      </a:lnTo>
                      <a:lnTo>
                        <a:pt x="512" y="748"/>
                      </a:lnTo>
                      <a:lnTo>
                        <a:pt x="520" y="726"/>
                      </a:lnTo>
                      <a:lnTo>
                        <a:pt x="520" y="726"/>
                      </a:lnTo>
                      <a:lnTo>
                        <a:pt x="524" y="694"/>
                      </a:lnTo>
                      <a:lnTo>
                        <a:pt x="526" y="676"/>
                      </a:lnTo>
                      <a:lnTo>
                        <a:pt x="524" y="662"/>
                      </a:lnTo>
                      <a:lnTo>
                        <a:pt x="524" y="662"/>
                      </a:lnTo>
                      <a:lnTo>
                        <a:pt x="504" y="578"/>
                      </a:lnTo>
                      <a:lnTo>
                        <a:pt x="494" y="526"/>
                      </a:lnTo>
                      <a:lnTo>
                        <a:pt x="492" y="510"/>
                      </a:lnTo>
                      <a:lnTo>
                        <a:pt x="492" y="504"/>
                      </a:lnTo>
                      <a:lnTo>
                        <a:pt x="494" y="502"/>
                      </a:lnTo>
                      <a:lnTo>
                        <a:pt x="494" y="502"/>
                      </a:lnTo>
                      <a:lnTo>
                        <a:pt x="498" y="498"/>
                      </a:lnTo>
                      <a:lnTo>
                        <a:pt x="500" y="492"/>
                      </a:lnTo>
                      <a:lnTo>
                        <a:pt x="504" y="474"/>
                      </a:lnTo>
                      <a:lnTo>
                        <a:pt x="512" y="500"/>
                      </a:lnTo>
                      <a:lnTo>
                        <a:pt x="518" y="508"/>
                      </a:lnTo>
                      <a:lnTo>
                        <a:pt x="518" y="520"/>
                      </a:lnTo>
                      <a:lnTo>
                        <a:pt x="526" y="538"/>
                      </a:lnTo>
                      <a:lnTo>
                        <a:pt x="528" y="542"/>
                      </a:lnTo>
                      <a:lnTo>
                        <a:pt x="538" y="568"/>
                      </a:lnTo>
                      <a:lnTo>
                        <a:pt x="542" y="568"/>
                      </a:lnTo>
                      <a:lnTo>
                        <a:pt x="544" y="572"/>
                      </a:lnTo>
                      <a:lnTo>
                        <a:pt x="542" y="576"/>
                      </a:lnTo>
                      <a:lnTo>
                        <a:pt x="548" y="588"/>
                      </a:lnTo>
                      <a:lnTo>
                        <a:pt x="556" y="608"/>
                      </a:lnTo>
                      <a:lnTo>
                        <a:pt x="570" y="620"/>
                      </a:lnTo>
                      <a:lnTo>
                        <a:pt x="588" y="626"/>
                      </a:lnTo>
                      <a:lnTo>
                        <a:pt x="584" y="614"/>
                      </a:lnTo>
                      <a:lnTo>
                        <a:pt x="590" y="624"/>
                      </a:lnTo>
                      <a:lnTo>
                        <a:pt x="598" y="608"/>
                      </a:lnTo>
                      <a:lnTo>
                        <a:pt x="598" y="590"/>
                      </a:lnTo>
                      <a:lnTo>
                        <a:pt x="590" y="570"/>
                      </a:lnTo>
                      <a:lnTo>
                        <a:pt x="586" y="558"/>
                      </a:lnTo>
                      <a:lnTo>
                        <a:pt x="580" y="556"/>
                      </a:lnTo>
                      <a:lnTo>
                        <a:pt x="580" y="552"/>
                      </a:lnTo>
                      <a:lnTo>
                        <a:pt x="582" y="548"/>
                      </a:lnTo>
                      <a:lnTo>
                        <a:pt x="572" y="524"/>
                      </a:lnTo>
                      <a:lnTo>
                        <a:pt x="570" y="520"/>
                      </a:lnTo>
                      <a:lnTo>
                        <a:pt x="562" y="502"/>
                      </a:lnTo>
                      <a:lnTo>
                        <a:pt x="554" y="492"/>
                      </a:lnTo>
                      <a:lnTo>
                        <a:pt x="550" y="484"/>
                      </a:lnTo>
                      <a:lnTo>
                        <a:pt x="538" y="460"/>
                      </a:lnTo>
                      <a:lnTo>
                        <a:pt x="538" y="460"/>
                      </a:lnTo>
                      <a:lnTo>
                        <a:pt x="554" y="470"/>
                      </a:lnTo>
                      <a:lnTo>
                        <a:pt x="560" y="472"/>
                      </a:lnTo>
                      <a:lnTo>
                        <a:pt x="566" y="472"/>
                      </a:lnTo>
                      <a:lnTo>
                        <a:pt x="566" y="472"/>
                      </a:lnTo>
                      <a:close/>
                      <a:moveTo>
                        <a:pt x="466" y="344"/>
                      </a:moveTo>
                      <a:lnTo>
                        <a:pt x="466" y="344"/>
                      </a:lnTo>
                      <a:lnTo>
                        <a:pt x="466" y="344"/>
                      </a:lnTo>
                      <a:lnTo>
                        <a:pt x="466" y="344"/>
                      </a:lnTo>
                      <a:lnTo>
                        <a:pt x="466" y="344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6000"/>
                  </a:schemeClr>
                </a:solidFill>
                <a:ln>
                  <a:noFill/>
                </a:ln>
                <a:effectLst>
                  <a:glow rad="38100">
                    <a:schemeClr val="bg2">
                      <a:lumMod val="50000"/>
                      <a:lumOff val="50000"/>
                      <a:alpha val="15000"/>
                    </a:schemeClr>
                  </a:glow>
                  <a:softEdge rad="12700"/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87" name="Group 112"/>
              <p:cNvGrpSpPr>
                <a:grpSpLocks noChangeAspect="1"/>
              </p:cNvGrpSpPr>
              <p:nvPr/>
            </p:nvGrpSpPr>
            <p:grpSpPr>
              <a:xfrm>
                <a:off x="7679515" y="5943604"/>
                <a:ext cx="1331670" cy="914403"/>
                <a:chOff x="7953375" y="152400"/>
                <a:chExt cx="1775564" cy="1219200"/>
              </a:xfrm>
              <a:solidFill>
                <a:schemeClr val="bg2">
                  <a:lumMod val="50000"/>
                  <a:lumOff val="50000"/>
                  <a:alpha val="8000"/>
                </a:schemeClr>
              </a:solidFill>
            </p:grpSpPr>
            <p:sp>
              <p:nvSpPr>
                <p:cNvPr id="188" name="Freeform 35"/>
                <p:cNvSpPr>
                  <a:spLocks/>
                </p:cNvSpPr>
                <p:nvPr/>
              </p:nvSpPr>
              <p:spPr bwMode="auto">
                <a:xfrm>
                  <a:off x="7953375" y="688975"/>
                  <a:ext cx="269875" cy="127000"/>
                </a:xfrm>
                <a:custGeom>
                  <a:avLst/>
                  <a:gdLst>
                    <a:gd name="T0" fmla="*/ 170 w 170"/>
                    <a:gd name="T1" fmla="*/ 80 h 80"/>
                    <a:gd name="T2" fmla="*/ 170 w 170"/>
                    <a:gd name="T3" fmla="*/ 80 h 80"/>
                    <a:gd name="T4" fmla="*/ 170 w 170"/>
                    <a:gd name="T5" fmla="*/ 80 h 80"/>
                    <a:gd name="T6" fmla="*/ 170 w 170"/>
                    <a:gd name="T7" fmla="*/ 80 h 80"/>
                    <a:gd name="T8" fmla="*/ 154 w 170"/>
                    <a:gd name="T9" fmla="*/ 72 h 80"/>
                    <a:gd name="T10" fmla="*/ 38 w 170"/>
                    <a:gd name="T11" fmla="*/ 14 h 80"/>
                    <a:gd name="T12" fmla="*/ 38 w 170"/>
                    <a:gd name="T13" fmla="*/ 14 h 80"/>
                    <a:gd name="T14" fmla="*/ 18 w 170"/>
                    <a:gd name="T15" fmla="*/ 4 h 80"/>
                    <a:gd name="T16" fmla="*/ 18 w 170"/>
                    <a:gd name="T17" fmla="*/ 4 h 80"/>
                    <a:gd name="T18" fmla="*/ 12 w 170"/>
                    <a:gd name="T19" fmla="*/ 2 h 80"/>
                    <a:gd name="T20" fmla="*/ 4 w 170"/>
                    <a:gd name="T21" fmla="*/ 0 h 80"/>
                    <a:gd name="T22" fmla="*/ 4 w 170"/>
                    <a:gd name="T23" fmla="*/ 0 h 80"/>
                    <a:gd name="T24" fmla="*/ 0 w 170"/>
                    <a:gd name="T25" fmla="*/ 0 h 80"/>
                    <a:gd name="T26" fmla="*/ 2 w 170"/>
                    <a:gd name="T27" fmla="*/ 4 h 80"/>
                    <a:gd name="T28" fmla="*/ 2 w 170"/>
                    <a:gd name="T29" fmla="*/ 4 h 80"/>
                    <a:gd name="T30" fmla="*/ 4 w 170"/>
                    <a:gd name="T31" fmla="*/ 6 h 80"/>
                    <a:gd name="T32" fmla="*/ 10 w 170"/>
                    <a:gd name="T33" fmla="*/ 8 h 80"/>
                    <a:gd name="T34" fmla="*/ 10 w 170"/>
                    <a:gd name="T35" fmla="*/ 8 h 80"/>
                    <a:gd name="T36" fmla="*/ 28 w 170"/>
                    <a:gd name="T37" fmla="*/ 16 h 80"/>
                    <a:gd name="T38" fmla="*/ 154 w 170"/>
                    <a:gd name="T39" fmla="*/ 74 h 80"/>
                    <a:gd name="T40" fmla="*/ 154 w 170"/>
                    <a:gd name="T41" fmla="*/ 74 h 80"/>
                    <a:gd name="T42" fmla="*/ 170 w 170"/>
                    <a:gd name="T43" fmla="*/ 80 h 80"/>
                    <a:gd name="T44" fmla="*/ 170 w 170"/>
                    <a:gd name="T45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70" h="80">
                      <a:moveTo>
                        <a:pt x="170" y="80"/>
                      </a:moveTo>
                      <a:lnTo>
                        <a:pt x="170" y="80"/>
                      </a:lnTo>
                      <a:lnTo>
                        <a:pt x="170" y="80"/>
                      </a:lnTo>
                      <a:lnTo>
                        <a:pt x="170" y="80"/>
                      </a:lnTo>
                      <a:lnTo>
                        <a:pt x="154" y="72"/>
                      </a:lnTo>
                      <a:lnTo>
                        <a:pt x="38" y="14"/>
                      </a:lnTo>
                      <a:lnTo>
                        <a:pt x="38" y="1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2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4" y="6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28" y="16"/>
                      </a:lnTo>
                      <a:lnTo>
                        <a:pt x="154" y="74"/>
                      </a:lnTo>
                      <a:lnTo>
                        <a:pt x="154" y="74"/>
                      </a:lnTo>
                      <a:lnTo>
                        <a:pt x="170" y="80"/>
                      </a:lnTo>
                      <a:lnTo>
                        <a:pt x="170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36"/>
                <p:cNvSpPr>
                  <a:spLocks/>
                </p:cNvSpPr>
                <p:nvPr/>
              </p:nvSpPr>
              <p:spPr bwMode="auto">
                <a:xfrm>
                  <a:off x="8226425" y="82232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0" name="Freeform 37"/>
                <p:cNvSpPr>
                  <a:spLocks/>
                </p:cNvSpPr>
                <p:nvPr/>
              </p:nvSpPr>
              <p:spPr bwMode="auto">
                <a:xfrm>
                  <a:off x="8232775" y="514350"/>
                  <a:ext cx="19050" cy="295275"/>
                </a:xfrm>
                <a:custGeom>
                  <a:avLst/>
                  <a:gdLst>
                    <a:gd name="T0" fmla="*/ 2 w 12"/>
                    <a:gd name="T1" fmla="*/ 186 h 186"/>
                    <a:gd name="T2" fmla="*/ 2 w 12"/>
                    <a:gd name="T3" fmla="*/ 186 h 186"/>
                    <a:gd name="T4" fmla="*/ 4 w 12"/>
                    <a:gd name="T5" fmla="*/ 168 h 186"/>
                    <a:gd name="T6" fmla="*/ 8 w 12"/>
                    <a:gd name="T7" fmla="*/ 30 h 186"/>
                    <a:gd name="T8" fmla="*/ 8 w 12"/>
                    <a:gd name="T9" fmla="*/ 30 h 186"/>
                    <a:gd name="T10" fmla="*/ 10 w 12"/>
                    <a:gd name="T11" fmla="*/ 10 h 186"/>
                    <a:gd name="T12" fmla="*/ 10 w 12"/>
                    <a:gd name="T13" fmla="*/ 10 h 186"/>
                    <a:gd name="T14" fmla="*/ 12 w 12"/>
                    <a:gd name="T15" fmla="*/ 6 h 186"/>
                    <a:gd name="T16" fmla="*/ 10 w 12"/>
                    <a:gd name="T17" fmla="*/ 0 h 186"/>
                    <a:gd name="T18" fmla="*/ 10 w 12"/>
                    <a:gd name="T19" fmla="*/ 0 h 186"/>
                    <a:gd name="T20" fmla="*/ 8 w 12"/>
                    <a:gd name="T21" fmla="*/ 0 h 186"/>
                    <a:gd name="T22" fmla="*/ 6 w 12"/>
                    <a:gd name="T23" fmla="*/ 2 h 186"/>
                    <a:gd name="T24" fmla="*/ 6 w 12"/>
                    <a:gd name="T25" fmla="*/ 2 h 186"/>
                    <a:gd name="T26" fmla="*/ 4 w 12"/>
                    <a:gd name="T27" fmla="*/ 8 h 186"/>
                    <a:gd name="T28" fmla="*/ 4 w 12"/>
                    <a:gd name="T29" fmla="*/ 16 h 186"/>
                    <a:gd name="T30" fmla="*/ 4 w 12"/>
                    <a:gd name="T31" fmla="*/ 16 h 186"/>
                    <a:gd name="T32" fmla="*/ 4 w 12"/>
                    <a:gd name="T33" fmla="*/ 38 h 186"/>
                    <a:gd name="T34" fmla="*/ 0 w 12"/>
                    <a:gd name="T35" fmla="*/ 168 h 186"/>
                    <a:gd name="T36" fmla="*/ 0 w 12"/>
                    <a:gd name="T37" fmla="*/ 168 h 186"/>
                    <a:gd name="T38" fmla="*/ 0 w 12"/>
                    <a:gd name="T39" fmla="*/ 186 h 186"/>
                    <a:gd name="T40" fmla="*/ 0 w 12"/>
                    <a:gd name="T41" fmla="*/ 186 h 186"/>
                    <a:gd name="T42" fmla="*/ 0 w 12"/>
                    <a:gd name="T43" fmla="*/ 186 h 186"/>
                    <a:gd name="T44" fmla="*/ 0 w 12"/>
                    <a:gd name="T45" fmla="*/ 186 h 186"/>
                    <a:gd name="T46" fmla="*/ 2 w 12"/>
                    <a:gd name="T47" fmla="*/ 186 h 186"/>
                    <a:gd name="T48" fmla="*/ 2 w 12"/>
                    <a:gd name="T49" fmla="*/ 186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" h="186">
                      <a:moveTo>
                        <a:pt x="2" y="186"/>
                      </a:moveTo>
                      <a:lnTo>
                        <a:pt x="2" y="186"/>
                      </a:lnTo>
                      <a:lnTo>
                        <a:pt x="4" y="168"/>
                      </a:lnTo>
                      <a:lnTo>
                        <a:pt x="8" y="30"/>
                      </a:lnTo>
                      <a:lnTo>
                        <a:pt x="8" y="30"/>
                      </a:lnTo>
                      <a:lnTo>
                        <a:pt x="10" y="10"/>
                      </a:lnTo>
                      <a:lnTo>
                        <a:pt x="10" y="10"/>
                      </a:lnTo>
                      <a:lnTo>
                        <a:pt x="12" y="6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6" y="2"/>
                      </a:lnTo>
                      <a:lnTo>
                        <a:pt x="6" y="2"/>
                      </a:lnTo>
                      <a:lnTo>
                        <a:pt x="4" y="8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4" y="38"/>
                      </a:lnTo>
                      <a:lnTo>
                        <a:pt x="0" y="168"/>
                      </a:lnTo>
                      <a:lnTo>
                        <a:pt x="0" y="168"/>
                      </a:lnTo>
                      <a:lnTo>
                        <a:pt x="0" y="186"/>
                      </a:lnTo>
                      <a:lnTo>
                        <a:pt x="0" y="186"/>
                      </a:lnTo>
                      <a:lnTo>
                        <a:pt x="0" y="186"/>
                      </a:lnTo>
                      <a:lnTo>
                        <a:pt x="0" y="186"/>
                      </a:lnTo>
                      <a:lnTo>
                        <a:pt x="2" y="186"/>
                      </a:lnTo>
                      <a:lnTo>
                        <a:pt x="2" y="1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1" name="Freeform 38"/>
                <p:cNvSpPr>
                  <a:spLocks noEditPoints="1"/>
                </p:cNvSpPr>
                <p:nvPr/>
              </p:nvSpPr>
              <p:spPr bwMode="auto">
                <a:xfrm>
                  <a:off x="8274789" y="152400"/>
                  <a:ext cx="1454150" cy="1219200"/>
                </a:xfrm>
                <a:custGeom>
                  <a:avLst/>
                  <a:gdLst>
                    <a:gd name="T0" fmla="*/ 838 w 916"/>
                    <a:gd name="T1" fmla="*/ 674 h 768"/>
                    <a:gd name="T2" fmla="*/ 790 w 916"/>
                    <a:gd name="T3" fmla="*/ 634 h 768"/>
                    <a:gd name="T4" fmla="*/ 780 w 916"/>
                    <a:gd name="T5" fmla="*/ 590 h 768"/>
                    <a:gd name="T6" fmla="*/ 786 w 916"/>
                    <a:gd name="T7" fmla="*/ 556 h 768"/>
                    <a:gd name="T8" fmla="*/ 788 w 916"/>
                    <a:gd name="T9" fmla="*/ 524 h 768"/>
                    <a:gd name="T10" fmla="*/ 790 w 916"/>
                    <a:gd name="T11" fmla="*/ 450 h 768"/>
                    <a:gd name="T12" fmla="*/ 782 w 916"/>
                    <a:gd name="T13" fmla="*/ 420 h 768"/>
                    <a:gd name="T14" fmla="*/ 666 w 916"/>
                    <a:gd name="T15" fmla="*/ 406 h 768"/>
                    <a:gd name="T16" fmla="*/ 758 w 916"/>
                    <a:gd name="T17" fmla="*/ 340 h 768"/>
                    <a:gd name="T18" fmla="*/ 770 w 916"/>
                    <a:gd name="T19" fmla="*/ 308 h 768"/>
                    <a:gd name="T20" fmla="*/ 770 w 916"/>
                    <a:gd name="T21" fmla="*/ 266 h 768"/>
                    <a:gd name="T22" fmla="*/ 768 w 916"/>
                    <a:gd name="T23" fmla="*/ 236 h 768"/>
                    <a:gd name="T24" fmla="*/ 756 w 916"/>
                    <a:gd name="T25" fmla="*/ 212 h 768"/>
                    <a:gd name="T26" fmla="*/ 756 w 916"/>
                    <a:gd name="T27" fmla="*/ 190 h 768"/>
                    <a:gd name="T28" fmla="*/ 746 w 916"/>
                    <a:gd name="T29" fmla="*/ 152 h 768"/>
                    <a:gd name="T30" fmla="*/ 750 w 916"/>
                    <a:gd name="T31" fmla="*/ 118 h 768"/>
                    <a:gd name="T32" fmla="*/ 752 w 916"/>
                    <a:gd name="T33" fmla="*/ 92 h 768"/>
                    <a:gd name="T34" fmla="*/ 756 w 916"/>
                    <a:gd name="T35" fmla="*/ 62 h 768"/>
                    <a:gd name="T36" fmla="*/ 678 w 916"/>
                    <a:gd name="T37" fmla="*/ 10 h 768"/>
                    <a:gd name="T38" fmla="*/ 594 w 916"/>
                    <a:gd name="T39" fmla="*/ 82 h 768"/>
                    <a:gd name="T40" fmla="*/ 540 w 916"/>
                    <a:gd name="T41" fmla="*/ 186 h 768"/>
                    <a:gd name="T42" fmla="*/ 514 w 916"/>
                    <a:gd name="T43" fmla="*/ 366 h 768"/>
                    <a:gd name="T44" fmla="*/ 502 w 916"/>
                    <a:gd name="T45" fmla="*/ 424 h 768"/>
                    <a:gd name="T46" fmla="*/ 496 w 916"/>
                    <a:gd name="T47" fmla="*/ 412 h 768"/>
                    <a:gd name="T48" fmla="*/ 486 w 916"/>
                    <a:gd name="T49" fmla="*/ 412 h 768"/>
                    <a:gd name="T50" fmla="*/ 478 w 916"/>
                    <a:gd name="T51" fmla="*/ 416 h 768"/>
                    <a:gd name="T52" fmla="*/ 476 w 916"/>
                    <a:gd name="T53" fmla="*/ 422 h 768"/>
                    <a:gd name="T54" fmla="*/ 468 w 916"/>
                    <a:gd name="T55" fmla="*/ 432 h 768"/>
                    <a:gd name="T56" fmla="*/ 474 w 916"/>
                    <a:gd name="T57" fmla="*/ 454 h 768"/>
                    <a:gd name="T58" fmla="*/ 380 w 916"/>
                    <a:gd name="T59" fmla="*/ 406 h 768"/>
                    <a:gd name="T60" fmla="*/ 222 w 916"/>
                    <a:gd name="T61" fmla="*/ 362 h 768"/>
                    <a:gd name="T62" fmla="*/ 108 w 916"/>
                    <a:gd name="T63" fmla="*/ 370 h 768"/>
                    <a:gd name="T64" fmla="*/ 0 w 916"/>
                    <a:gd name="T65" fmla="*/ 436 h 768"/>
                    <a:gd name="T66" fmla="*/ 44 w 916"/>
                    <a:gd name="T67" fmla="*/ 504 h 768"/>
                    <a:gd name="T68" fmla="*/ 70 w 916"/>
                    <a:gd name="T69" fmla="*/ 514 h 768"/>
                    <a:gd name="T70" fmla="*/ 96 w 916"/>
                    <a:gd name="T71" fmla="*/ 522 h 768"/>
                    <a:gd name="T72" fmla="*/ 126 w 916"/>
                    <a:gd name="T73" fmla="*/ 536 h 768"/>
                    <a:gd name="T74" fmla="*/ 150 w 916"/>
                    <a:gd name="T75" fmla="*/ 558 h 768"/>
                    <a:gd name="T76" fmla="*/ 172 w 916"/>
                    <a:gd name="T77" fmla="*/ 572 h 768"/>
                    <a:gd name="T78" fmla="*/ 192 w 916"/>
                    <a:gd name="T79" fmla="*/ 594 h 768"/>
                    <a:gd name="T80" fmla="*/ 210 w 916"/>
                    <a:gd name="T81" fmla="*/ 608 h 768"/>
                    <a:gd name="T82" fmla="*/ 258 w 916"/>
                    <a:gd name="T83" fmla="*/ 632 h 768"/>
                    <a:gd name="T84" fmla="*/ 320 w 916"/>
                    <a:gd name="T85" fmla="*/ 610 h 768"/>
                    <a:gd name="T86" fmla="*/ 368 w 916"/>
                    <a:gd name="T87" fmla="*/ 604 h 768"/>
                    <a:gd name="T88" fmla="*/ 342 w 916"/>
                    <a:gd name="T89" fmla="*/ 692 h 768"/>
                    <a:gd name="T90" fmla="*/ 384 w 916"/>
                    <a:gd name="T91" fmla="*/ 724 h 768"/>
                    <a:gd name="T92" fmla="*/ 440 w 916"/>
                    <a:gd name="T93" fmla="*/ 740 h 768"/>
                    <a:gd name="T94" fmla="*/ 462 w 916"/>
                    <a:gd name="T95" fmla="*/ 754 h 768"/>
                    <a:gd name="T96" fmla="*/ 500 w 916"/>
                    <a:gd name="T97" fmla="*/ 764 h 768"/>
                    <a:gd name="T98" fmla="*/ 584 w 916"/>
                    <a:gd name="T99" fmla="*/ 736 h 768"/>
                    <a:gd name="T100" fmla="*/ 530 w 916"/>
                    <a:gd name="T101" fmla="*/ 578 h 768"/>
                    <a:gd name="T102" fmla="*/ 558 w 916"/>
                    <a:gd name="T103" fmla="*/ 594 h 768"/>
                    <a:gd name="T104" fmla="*/ 590 w 916"/>
                    <a:gd name="T105" fmla="*/ 648 h 768"/>
                    <a:gd name="T106" fmla="*/ 646 w 916"/>
                    <a:gd name="T107" fmla="*/ 688 h 768"/>
                    <a:gd name="T108" fmla="*/ 624 w 916"/>
                    <a:gd name="T109" fmla="*/ 616 h 768"/>
                    <a:gd name="T110" fmla="*/ 584 w 916"/>
                    <a:gd name="T111" fmla="*/ 550 h 768"/>
                    <a:gd name="T112" fmla="*/ 598 w 916"/>
                    <a:gd name="T113" fmla="*/ 536 h 768"/>
                    <a:gd name="T114" fmla="*/ 714 w 916"/>
                    <a:gd name="T115" fmla="*/ 658 h 768"/>
                    <a:gd name="T116" fmla="*/ 804 w 916"/>
                    <a:gd name="T117" fmla="*/ 702 h 768"/>
                    <a:gd name="T118" fmla="*/ 836 w 916"/>
                    <a:gd name="T119" fmla="*/ 708 h 768"/>
                    <a:gd name="T120" fmla="*/ 910 w 916"/>
                    <a:gd name="T121" fmla="*/ 736 h 768"/>
                    <a:gd name="T122" fmla="*/ 910 w 916"/>
                    <a:gd name="T123" fmla="*/ 716 h 768"/>
                    <a:gd name="T124" fmla="*/ 878 w 916"/>
                    <a:gd name="T125" fmla="*/ 688 h 7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916" h="768">
                      <a:moveTo>
                        <a:pt x="878" y="688"/>
                      </a:moveTo>
                      <a:lnTo>
                        <a:pt x="878" y="688"/>
                      </a:lnTo>
                      <a:lnTo>
                        <a:pt x="868" y="682"/>
                      </a:lnTo>
                      <a:lnTo>
                        <a:pt x="856" y="678"/>
                      </a:lnTo>
                      <a:lnTo>
                        <a:pt x="838" y="674"/>
                      </a:lnTo>
                      <a:lnTo>
                        <a:pt x="838" y="674"/>
                      </a:lnTo>
                      <a:lnTo>
                        <a:pt x="828" y="672"/>
                      </a:lnTo>
                      <a:lnTo>
                        <a:pt x="818" y="666"/>
                      </a:lnTo>
                      <a:lnTo>
                        <a:pt x="810" y="660"/>
                      </a:lnTo>
                      <a:lnTo>
                        <a:pt x="802" y="652"/>
                      </a:lnTo>
                      <a:lnTo>
                        <a:pt x="792" y="640"/>
                      </a:lnTo>
                      <a:lnTo>
                        <a:pt x="790" y="634"/>
                      </a:lnTo>
                      <a:lnTo>
                        <a:pt x="790" y="634"/>
                      </a:lnTo>
                      <a:lnTo>
                        <a:pt x="786" y="630"/>
                      </a:lnTo>
                      <a:lnTo>
                        <a:pt x="780" y="616"/>
                      </a:lnTo>
                      <a:lnTo>
                        <a:pt x="776" y="602"/>
                      </a:lnTo>
                      <a:lnTo>
                        <a:pt x="778" y="596"/>
                      </a:lnTo>
                      <a:lnTo>
                        <a:pt x="780" y="590"/>
                      </a:lnTo>
                      <a:lnTo>
                        <a:pt x="780" y="590"/>
                      </a:lnTo>
                      <a:lnTo>
                        <a:pt x="784" y="586"/>
                      </a:lnTo>
                      <a:lnTo>
                        <a:pt x="786" y="582"/>
                      </a:lnTo>
                      <a:lnTo>
                        <a:pt x="786" y="570"/>
                      </a:lnTo>
                      <a:lnTo>
                        <a:pt x="786" y="556"/>
                      </a:lnTo>
                      <a:lnTo>
                        <a:pt x="786" y="556"/>
                      </a:lnTo>
                      <a:lnTo>
                        <a:pt x="784" y="554"/>
                      </a:lnTo>
                      <a:lnTo>
                        <a:pt x="782" y="548"/>
                      </a:lnTo>
                      <a:lnTo>
                        <a:pt x="780" y="544"/>
                      </a:lnTo>
                      <a:lnTo>
                        <a:pt x="782" y="538"/>
                      </a:lnTo>
                      <a:lnTo>
                        <a:pt x="784" y="532"/>
                      </a:lnTo>
                      <a:lnTo>
                        <a:pt x="788" y="524"/>
                      </a:lnTo>
                      <a:lnTo>
                        <a:pt x="788" y="524"/>
                      </a:lnTo>
                      <a:lnTo>
                        <a:pt x="792" y="514"/>
                      </a:lnTo>
                      <a:lnTo>
                        <a:pt x="794" y="502"/>
                      </a:lnTo>
                      <a:lnTo>
                        <a:pt x="794" y="488"/>
                      </a:lnTo>
                      <a:lnTo>
                        <a:pt x="794" y="474"/>
                      </a:lnTo>
                      <a:lnTo>
                        <a:pt x="790" y="450"/>
                      </a:lnTo>
                      <a:lnTo>
                        <a:pt x="786" y="440"/>
                      </a:lnTo>
                      <a:lnTo>
                        <a:pt x="782" y="426"/>
                      </a:lnTo>
                      <a:lnTo>
                        <a:pt x="782" y="426"/>
                      </a:lnTo>
                      <a:lnTo>
                        <a:pt x="784" y="424"/>
                      </a:lnTo>
                      <a:lnTo>
                        <a:pt x="784" y="422"/>
                      </a:lnTo>
                      <a:lnTo>
                        <a:pt x="782" y="420"/>
                      </a:lnTo>
                      <a:lnTo>
                        <a:pt x="776" y="418"/>
                      </a:lnTo>
                      <a:lnTo>
                        <a:pt x="766" y="414"/>
                      </a:lnTo>
                      <a:lnTo>
                        <a:pt x="722" y="406"/>
                      </a:lnTo>
                      <a:lnTo>
                        <a:pt x="722" y="406"/>
                      </a:lnTo>
                      <a:lnTo>
                        <a:pt x="696" y="404"/>
                      </a:lnTo>
                      <a:lnTo>
                        <a:pt x="666" y="406"/>
                      </a:lnTo>
                      <a:lnTo>
                        <a:pt x="668" y="404"/>
                      </a:lnTo>
                      <a:lnTo>
                        <a:pt x="682" y="392"/>
                      </a:lnTo>
                      <a:lnTo>
                        <a:pt x="704" y="376"/>
                      </a:lnTo>
                      <a:lnTo>
                        <a:pt x="722" y="366"/>
                      </a:lnTo>
                      <a:lnTo>
                        <a:pt x="742" y="354"/>
                      </a:lnTo>
                      <a:lnTo>
                        <a:pt x="758" y="340"/>
                      </a:lnTo>
                      <a:lnTo>
                        <a:pt x="758" y="340"/>
                      </a:lnTo>
                      <a:lnTo>
                        <a:pt x="764" y="332"/>
                      </a:lnTo>
                      <a:lnTo>
                        <a:pt x="768" y="326"/>
                      </a:lnTo>
                      <a:lnTo>
                        <a:pt x="770" y="320"/>
                      </a:lnTo>
                      <a:lnTo>
                        <a:pt x="770" y="320"/>
                      </a:lnTo>
                      <a:lnTo>
                        <a:pt x="770" y="308"/>
                      </a:lnTo>
                      <a:lnTo>
                        <a:pt x="772" y="290"/>
                      </a:lnTo>
                      <a:lnTo>
                        <a:pt x="772" y="290"/>
                      </a:lnTo>
                      <a:lnTo>
                        <a:pt x="772" y="280"/>
                      </a:lnTo>
                      <a:lnTo>
                        <a:pt x="772" y="272"/>
                      </a:lnTo>
                      <a:lnTo>
                        <a:pt x="770" y="266"/>
                      </a:lnTo>
                      <a:lnTo>
                        <a:pt x="770" y="266"/>
                      </a:lnTo>
                      <a:lnTo>
                        <a:pt x="768" y="260"/>
                      </a:lnTo>
                      <a:lnTo>
                        <a:pt x="768" y="254"/>
                      </a:lnTo>
                      <a:lnTo>
                        <a:pt x="768" y="250"/>
                      </a:lnTo>
                      <a:lnTo>
                        <a:pt x="768" y="250"/>
                      </a:lnTo>
                      <a:lnTo>
                        <a:pt x="768" y="244"/>
                      </a:lnTo>
                      <a:lnTo>
                        <a:pt x="768" y="236"/>
                      </a:lnTo>
                      <a:lnTo>
                        <a:pt x="766" y="226"/>
                      </a:lnTo>
                      <a:lnTo>
                        <a:pt x="764" y="222"/>
                      </a:lnTo>
                      <a:lnTo>
                        <a:pt x="760" y="220"/>
                      </a:lnTo>
                      <a:lnTo>
                        <a:pt x="760" y="220"/>
                      </a:lnTo>
                      <a:lnTo>
                        <a:pt x="756" y="216"/>
                      </a:lnTo>
                      <a:lnTo>
                        <a:pt x="756" y="212"/>
                      </a:lnTo>
                      <a:lnTo>
                        <a:pt x="754" y="204"/>
                      </a:lnTo>
                      <a:lnTo>
                        <a:pt x="754" y="204"/>
                      </a:lnTo>
                      <a:lnTo>
                        <a:pt x="756" y="198"/>
                      </a:lnTo>
                      <a:lnTo>
                        <a:pt x="758" y="194"/>
                      </a:lnTo>
                      <a:lnTo>
                        <a:pt x="756" y="190"/>
                      </a:lnTo>
                      <a:lnTo>
                        <a:pt x="756" y="190"/>
                      </a:lnTo>
                      <a:lnTo>
                        <a:pt x="752" y="186"/>
                      </a:lnTo>
                      <a:lnTo>
                        <a:pt x="748" y="180"/>
                      </a:lnTo>
                      <a:lnTo>
                        <a:pt x="744" y="170"/>
                      </a:lnTo>
                      <a:lnTo>
                        <a:pt x="744" y="170"/>
                      </a:lnTo>
                      <a:lnTo>
                        <a:pt x="746" y="160"/>
                      </a:lnTo>
                      <a:lnTo>
                        <a:pt x="746" y="152"/>
                      </a:lnTo>
                      <a:lnTo>
                        <a:pt x="746" y="146"/>
                      </a:lnTo>
                      <a:lnTo>
                        <a:pt x="746" y="146"/>
                      </a:lnTo>
                      <a:lnTo>
                        <a:pt x="746" y="142"/>
                      </a:lnTo>
                      <a:lnTo>
                        <a:pt x="746" y="134"/>
                      </a:lnTo>
                      <a:lnTo>
                        <a:pt x="746" y="126"/>
                      </a:lnTo>
                      <a:lnTo>
                        <a:pt x="750" y="118"/>
                      </a:lnTo>
                      <a:lnTo>
                        <a:pt x="750" y="118"/>
                      </a:lnTo>
                      <a:lnTo>
                        <a:pt x="752" y="112"/>
                      </a:lnTo>
                      <a:lnTo>
                        <a:pt x="752" y="106"/>
                      </a:lnTo>
                      <a:lnTo>
                        <a:pt x="752" y="98"/>
                      </a:lnTo>
                      <a:lnTo>
                        <a:pt x="752" y="98"/>
                      </a:lnTo>
                      <a:lnTo>
                        <a:pt x="752" y="92"/>
                      </a:lnTo>
                      <a:lnTo>
                        <a:pt x="752" y="88"/>
                      </a:lnTo>
                      <a:lnTo>
                        <a:pt x="752" y="84"/>
                      </a:lnTo>
                      <a:lnTo>
                        <a:pt x="752" y="84"/>
                      </a:lnTo>
                      <a:lnTo>
                        <a:pt x="754" y="78"/>
                      </a:lnTo>
                      <a:lnTo>
                        <a:pt x="756" y="72"/>
                      </a:lnTo>
                      <a:lnTo>
                        <a:pt x="756" y="62"/>
                      </a:lnTo>
                      <a:lnTo>
                        <a:pt x="754" y="42"/>
                      </a:lnTo>
                      <a:lnTo>
                        <a:pt x="748" y="24"/>
                      </a:lnTo>
                      <a:lnTo>
                        <a:pt x="740" y="10"/>
                      </a:lnTo>
                      <a:lnTo>
                        <a:pt x="726" y="2"/>
                      </a:lnTo>
                      <a:lnTo>
                        <a:pt x="704" y="0"/>
                      </a:lnTo>
                      <a:lnTo>
                        <a:pt x="678" y="10"/>
                      </a:lnTo>
                      <a:lnTo>
                        <a:pt x="654" y="24"/>
                      </a:lnTo>
                      <a:lnTo>
                        <a:pt x="654" y="24"/>
                      </a:lnTo>
                      <a:lnTo>
                        <a:pt x="648" y="28"/>
                      </a:lnTo>
                      <a:lnTo>
                        <a:pt x="630" y="42"/>
                      </a:lnTo>
                      <a:lnTo>
                        <a:pt x="606" y="66"/>
                      </a:lnTo>
                      <a:lnTo>
                        <a:pt x="594" y="82"/>
                      </a:lnTo>
                      <a:lnTo>
                        <a:pt x="580" y="102"/>
                      </a:lnTo>
                      <a:lnTo>
                        <a:pt x="580" y="102"/>
                      </a:lnTo>
                      <a:lnTo>
                        <a:pt x="568" y="122"/>
                      </a:lnTo>
                      <a:lnTo>
                        <a:pt x="558" y="142"/>
                      </a:lnTo>
                      <a:lnTo>
                        <a:pt x="548" y="164"/>
                      </a:lnTo>
                      <a:lnTo>
                        <a:pt x="540" y="186"/>
                      </a:lnTo>
                      <a:lnTo>
                        <a:pt x="532" y="208"/>
                      </a:lnTo>
                      <a:lnTo>
                        <a:pt x="526" y="232"/>
                      </a:lnTo>
                      <a:lnTo>
                        <a:pt x="518" y="282"/>
                      </a:lnTo>
                      <a:lnTo>
                        <a:pt x="518" y="282"/>
                      </a:lnTo>
                      <a:lnTo>
                        <a:pt x="514" y="324"/>
                      </a:lnTo>
                      <a:lnTo>
                        <a:pt x="514" y="366"/>
                      </a:lnTo>
                      <a:lnTo>
                        <a:pt x="514" y="402"/>
                      </a:lnTo>
                      <a:lnTo>
                        <a:pt x="516" y="430"/>
                      </a:lnTo>
                      <a:lnTo>
                        <a:pt x="516" y="430"/>
                      </a:lnTo>
                      <a:lnTo>
                        <a:pt x="514" y="430"/>
                      </a:lnTo>
                      <a:lnTo>
                        <a:pt x="514" y="430"/>
                      </a:lnTo>
                      <a:lnTo>
                        <a:pt x="502" y="424"/>
                      </a:lnTo>
                      <a:lnTo>
                        <a:pt x="502" y="424"/>
                      </a:lnTo>
                      <a:lnTo>
                        <a:pt x="504" y="420"/>
                      </a:lnTo>
                      <a:lnTo>
                        <a:pt x="502" y="416"/>
                      </a:lnTo>
                      <a:lnTo>
                        <a:pt x="502" y="416"/>
                      </a:lnTo>
                      <a:lnTo>
                        <a:pt x="500" y="414"/>
                      </a:lnTo>
                      <a:lnTo>
                        <a:pt x="496" y="412"/>
                      </a:lnTo>
                      <a:lnTo>
                        <a:pt x="492" y="412"/>
                      </a:lnTo>
                      <a:lnTo>
                        <a:pt x="488" y="414"/>
                      </a:lnTo>
                      <a:lnTo>
                        <a:pt x="488" y="414"/>
                      </a:lnTo>
                      <a:lnTo>
                        <a:pt x="488" y="414"/>
                      </a:lnTo>
                      <a:lnTo>
                        <a:pt x="488" y="412"/>
                      </a:lnTo>
                      <a:lnTo>
                        <a:pt x="486" y="412"/>
                      </a:lnTo>
                      <a:lnTo>
                        <a:pt x="484" y="414"/>
                      </a:lnTo>
                      <a:lnTo>
                        <a:pt x="484" y="414"/>
                      </a:lnTo>
                      <a:lnTo>
                        <a:pt x="480" y="414"/>
                      </a:lnTo>
                      <a:lnTo>
                        <a:pt x="480" y="414"/>
                      </a:lnTo>
                      <a:lnTo>
                        <a:pt x="478" y="414"/>
                      </a:lnTo>
                      <a:lnTo>
                        <a:pt x="478" y="416"/>
                      </a:lnTo>
                      <a:lnTo>
                        <a:pt x="476" y="416"/>
                      </a:lnTo>
                      <a:lnTo>
                        <a:pt x="476" y="418"/>
                      </a:lnTo>
                      <a:lnTo>
                        <a:pt x="474" y="420"/>
                      </a:lnTo>
                      <a:lnTo>
                        <a:pt x="472" y="420"/>
                      </a:lnTo>
                      <a:lnTo>
                        <a:pt x="476" y="422"/>
                      </a:lnTo>
                      <a:lnTo>
                        <a:pt x="476" y="422"/>
                      </a:lnTo>
                      <a:lnTo>
                        <a:pt x="476" y="422"/>
                      </a:lnTo>
                      <a:lnTo>
                        <a:pt x="472" y="424"/>
                      </a:lnTo>
                      <a:lnTo>
                        <a:pt x="472" y="424"/>
                      </a:lnTo>
                      <a:lnTo>
                        <a:pt x="470" y="426"/>
                      </a:lnTo>
                      <a:lnTo>
                        <a:pt x="468" y="430"/>
                      </a:lnTo>
                      <a:lnTo>
                        <a:pt x="468" y="432"/>
                      </a:lnTo>
                      <a:lnTo>
                        <a:pt x="470" y="436"/>
                      </a:lnTo>
                      <a:lnTo>
                        <a:pt x="470" y="436"/>
                      </a:lnTo>
                      <a:lnTo>
                        <a:pt x="474" y="440"/>
                      </a:lnTo>
                      <a:lnTo>
                        <a:pt x="474" y="440"/>
                      </a:lnTo>
                      <a:lnTo>
                        <a:pt x="474" y="448"/>
                      </a:lnTo>
                      <a:lnTo>
                        <a:pt x="474" y="454"/>
                      </a:lnTo>
                      <a:lnTo>
                        <a:pt x="474" y="454"/>
                      </a:lnTo>
                      <a:lnTo>
                        <a:pt x="472" y="456"/>
                      </a:lnTo>
                      <a:lnTo>
                        <a:pt x="472" y="456"/>
                      </a:lnTo>
                      <a:lnTo>
                        <a:pt x="448" y="442"/>
                      </a:lnTo>
                      <a:lnTo>
                        <a:pt x="416" y="424"/>
                      </a:lnTo>
                      <a:lnTo>
                        <a:pt x="380" y="406"/>
                      </a:lnTo>
                      <a:lnTo>
                        <a:pt x="340" y="390"/>
                      </a:lnTo>
                      <a:lnTo>
                        <a:pt x="340" y="390"/>
                      </a:lnTo>
                      <a:lnTo>
                        <a:pt x="292" y="374"/>
                      </a:lnTo>
                      <a:lnTo>
                        <a:pt x="268" y="368"/>
                      </a:lnTo>
                      <a:lnTo>
                        <a:pt x="244" y="364"/>
                      </a:lnTo>
                      <a:lnTo>
                        <a:pt x="222" y="362"/>
                      </a:lnTo>
                      <a:lnTo>
                        <a:pt x="198" y="360"/>
                      </a:lnTo>
                      <a:lnTo>
                        <a:pt x="176" y="360"/>
                      </a:lnTo>
                      <a:lnTo>
                        <a:pt x="152" y="362"/>
                      </a:lnTo>
                      <a:lnTo>
                        <a:pt x="152" y="362"/>
                      </a:lnTo>
                      <a:lnTo>
                        <a:pt x="130" y="366"/>
                      </a:lnTo>
                      <a:lnTo>
                        <a:pt x="108" y="370"/>
                      </a:lnTo>
                      <a:lnTo>
                        <a:pt x="76" y="380"/>
                      </a:lnTo>
                      <a:lnTo>
                        <a:pt x="56" y="388"/>
                      </a:lnTo>
                      <a:lnTo>
                        <a:pt x="48" y="392"/>
                      </a:lnTo>
                      <a:lnTo>
                        <a:pt x="24" y="408"/>
                      </a:lnTo>
                      <a:lnTo>
                        <a:pt x="4" y="426"/>
                      </a:lnTo>
                      <a:lnTo>
                        <a:pt x="0" y="436"/>
                      </a:lnTo>
                      <a:lnTo>
                        <a:pt x="0" y="466"/>
                      </a:lnTo>
                      <a:lnTo>
                        <a:pt x="4" y="476"/>
                      </a:lnTo>
                      <a:lnTo>
                        <a:pt x="18" y="488"/>
                      </a:lnTo>
                      <a:lnTo>
                        <a:pt x="36" y="500"/>
                      </a:lnTo>
                      <a:lnTo>
                        <a:pt x="36" y="500"/>
                      </a:lnTo>
                      <a:lnTo>
                        <a:pt x="44" y="504"/>
                      </a:lnTo>
                      <a:lnTo>
                        <a:pt x="50" y="506"/>
                      </a:lnTo>
                      <a:lnTo>
                        <a:pt x="56" y="506"/>
                      </a:lnTo>
                      <a:lnTo>
                        <a:pt x="56" y="506"/>
                      </a:lnTo>
                      <a:lnTo>
                        <a:pt x="60" y="508"/>
                      </a:lnTo>
                      <a:lnTo>
                        <a:pt x="64" y="510"/>
                      </a:lnTo>
                      <a:lnTo>
                        <a:pt x="70" y="514"/>
                      </a:lnTo>
                      <a:lnTo>
                        <a:pt x="70" y="514"/>
                      </a:lnTo>
                      <a:lnTo>
                        <a:pt x="76" y="518"/>
                      </a:lnTo>
                      <a:lnTo>
                        <a:pt x="82" y="520"/>
                      </a:lnTo>
                      <a:lnTo>
                        <a:pt x="90" y="520"/>
                      </a:lnTo>
                      <a:lnTo>
                        <a:pt x="90" y="520"/>
                      </a:lnTo>
                      <a:lnTo>
                        <a:pt x="96" y="522"/>
                      </a:lnTo>
                      <a:lnTo>
                        <a:pt x="104" y="524"/>
                      </a:lnTo>
                      <a:lnTo>
                        <a:pt x="112" y="528"/>
                      </a:lnTo>
                      <a:lnTo>
                        <a:pt x="116" y="530"/>
                      </a:lnTo>
                      <a:lnTo>
                        <a:pt x="116" y="530"/>
                      </a:lnTo>
                      <a:lnTo>
                        <a:pt x="120" y="534"/>
                      </a:lnTo>
                      <a:lnTo>
                        <a:pt x="126" y="536"/>
                      </a:lnTo>
                      <a:lnTo>
                        <a:pt x="136" y="540"/>
                      </a:lnTo>
                      <a:lnTo>
                        <a:pt x="136" y="540"/>
                      </a:lnTo>
                      <a:lnTo>
                        <a:pt x="144" y="548"/>
                      </a:lnTo>
                      <a:lnTo>
                        <a:pt x="148" y="554"/>
                      </a:lnTo>
                      <a:lnTo>
                        <a:pt x="150" y="558"/>
                      </a:lnTo>
                      <a:lnTo>
                        <a:pt x="150" y="558"/>
                      </a:lnTo>
                      <a:lnTo>
                        <a:pt x="152" y="562"/>
                      </a:lnTo>
                      <a:lnTo>
                        <a:pt x="156" y="564"/>
                      </a:lnTo>
                      <a:lnTo>
                        <a:pt x="162" y="564"/>
                      </a:lnTo>
                      <a:lnTo>
                        <a:pt x="162" y="564"/>
                      </a:lnTo>
                      <a:lnTo>
                        <a:pt x="168" y="568"/>
                      </a:lnTo>
                      <a:lnTo>
                        <a:pt x="172" y="572"/>
                      </a:lnTo>
                      <a:lnTo>
                        <a:pt x="174" y="578"/>
                      </a:lnTo>
                      <a:lnTo>
                        <a:pt x="174" y="578"/>
                      </a:lnTo>
                      <a:lnTo>
                        <a:pt x="176" y="580"/>
                      </a:lnTo>
                      <a:lnTo>
                        <a:pt x="178" y="584"/>
                      </a:lnTo>
                      <a:lnTo>
                        <a:pt x="184" y="590"/>
                      </a:lnTo>
                      <a:lnTo>
                        <a:pt x="192" y="594"/>
                      </a:lnTo>
                      <a:lnTo>
                        <a:pt x="196" y="596"/>
                      </a:lnTo>
                      <a:lnTo>
                        <a:pt x="196" y="596"/>
                      </a:lnTo>
                      <a:lnTo>
                        <a:pt x="200" y="598"/>
                      </a:lnTo>
                      <a:lnTo>
                        <a:pt x="204" y="602"/>
                      </a:lnTo>
                      <a:lnTo>
                        <a:pt x="210" y="608"/>
                      </a:lnTo>
                      <a:lnTo>
                        <a:pt x="210" y="608"/>
                      </a:lnTo>
                      <a:lnTo>
                        <a:pt x="214" y="610"/>
                      </a:lnTo>
                      <a:lnTo>
                        <a:pt x="222" y="614"/>
                      </a:lnTo>
                      <a:lnTo>
                        <a:pt x="232" y="620"/>
                      </a:lnTo>
                      <a:lnTo>
                        <a:pt x="232" y="620"/>
                      </a:lnTo>
                      <a:lnTo>
                        <a:pt x="248" y="626"/>
                      </a:lnTo>
                      <a:lnTo>
                        <a:pt x="258" y="632"/>
                      </a:lnTo>
                      <a:lnTo>
                        <a:pt x="258" y="632"/>
                      </a:lnTo>
                      <a:lnTo>
                        <a:pt x="264" y="632"/>
                      </a:lnTo>
                      <a:lnTo>
                        <a:pt x="272" y="632"/>
                      </a:lnTo>
                      <a:lnTo>
                        <a:pt x="282" y="630"/>
                      </a:lnTo>
                      <a:lnTo>
                        <a:pt x="302" y="622"/>
                      </a:lnTo>
                      <a:lnTo>
                        <a:pt x="320" y="610"/>
                      </a:lnTo>
                      <a:lnTo>
                        <a:pt x="338" y="600"/>
                      </a:lnTo>
                      <a:lnTo>
                        <a:pt x="364" y="586"/>
                      </a:lnTo>
                      <a:lnTo>
                        <a:pt x="380" y="580"/>
                      </a:lnTo>
                      <a:lnTo>
                        <a:pt x="382" y="578"/>
                      </a:lnTo>
                      <a:lnTo>
                        <a:pt x="382" y="578"/>
                      </a:lnTo>
                      <a:lnTo>
                        <a:pt x="368" y="604"/>
                      </a:lnTo>
                      <a:lnTo>
                        <a:pt x="358" y="628"/>
                      </a:lnTo>
                      <a:lnTo>
                        <a:pt x="358" y="628"/>
                      </a:lnTo>
                      <a:lnTo>
                        <a:pt x="344" y="670"/>
                      </a:lnTo>
                      <a:lnTo>
                        <a:pt x="342" y="682"/>
                      </a:lnTo>
                      <a:lnTo>
                        <a:pt x="342" y="688"/>
                      </a:lnTo>
                      <a:lnTo>
                        <a:pt x="342" y="692"/>
                      </a:lnTo>
                      <a:lnTo>
                        <a:pt x="344" y="692"/>
                      </a:lnTo>
                      <a:lnTo>
                        <a:pt x="346" y="692"/>
                      </a:lnTo>
                      <a:lnTo>
                        <a:pt x="358" y="702"/>
                      </a:lnTo>
                      <a:lnTo>
                        <a:pt x="358" y="702"/>
                      </a:lnTo>
                      <a:lnTo>
                        <a:pt x="366" y="708"/>
                      </a:lnTo>
                      <a:lnTo>
                        <a:pt x="384" y="724"/>
                      </a:lnTo>
                      <a:lnTo>
                        <a:pt x="396" y="730"/>
                      </a:lnTo>
                      <a:lnTo>
                        <a:pt x="410" y="738"/>
                      </a:lnTo>
                      <a:lnTo>
                        <a:pt x="420" y="740"/>
                      </a:lnTo>
                      <a:lnTo>
                        <a:pt x="432" y="742"/>
                      </a:lnTo>
                      <a:lnTo>
                        <a:pt x="432" y="742"/>
                      </a:lnTo>
                      <a:lnTo>
                        <a:pt x="440" y="740"/>
                      </a:lnTo>
                      <a:lnTo>
                        <a:pt x="446" y="742"/>
                      </a:lnTo>
                      <a:lnTo>
                        <a:pt x="452" y="744"/>
                      </a:lnTo>
                      <a:lnTo>
                        <a:pt x="456" y="746"/>
                      </a:lnTo>
                      <a:lnTo>
                        <a:pt x="460" y="752"/>
                      </a:lnTo>
                      <a:lnTo>
                        <a:pt x="462" y="754"/>
                      </a:lnTo>
                      <a:lnTo>
                        <a:pt x="462" y="754"/>
                      </a:lnTo>
                      <a:lnTo>
                        <a:pt x="472" y="762"/>
                      </a:lnTo>
                      <a:lnTo>
                        <a:pt x="484" y="766"/>
                      </a:lnTo>
                      <a:lnTo>
                        <a:pt x="488" y="766"/>
                      </a:lnTo>
                      <a:lnTo>
                        <a:pt x="494" y="764"/>
                      </a:lnTo>
                      <a:lnTo>
                        <a:pt x="494" y="764"/>
                      </a:lnTo>
                      <a:lnTo>
                        <a:pt x="500" y="764"/>
                      </a:lnTo>
                      <a:lnTo>
                        <a:pt x="506" y="768"/>
                      </a:lnTo>
                      <a:lnTo>
                        <a:pt x="588" y="768"/>
                      </a:lnTo>
                      <a:lnTo>
                        <a:pt x="588" y="768"/>
                      </a:lnTo>
                      <a:lnTo>
                        <a:pt x="586" y="750"/>
                      </a:lnTo>
                      <a:lnTo>
                        <a:pt x="584" y="736"/>
                      </a:lnTo>
                      <a:lnTo>
                        <a:pt x="584" y="736"/>
                      </a:lnTo>
                      <a:lnTo>
                        <a:pt x="552" y="654"/>
                      </a:lnTo>
                      <a:lnTo>
                        <a:pt x="534" y="602"/>
                      </a:lnTo>
                      <a:lnTo>
                        <a:pt x="530" y="586"/>
                      </a:lnTo>
                      <a:lnTo>
                        <a:pt x="530" y="580"/>
                      </a:lnTo>
                      <a:lnTo>
                        <a:pt x="530" y="578"/>
                      </a:lnTo>
                      <a:lnTo>
                        <a:pt x="530" y="578"/>
                      </a:lnTo>
                      <a:lnTo>
                        <a:pt x="534" y="574"/>
                      </a:lnTo>
                      <a:lnTo>
                        <a:pt x="536" y="566"/>
                      </a:lnTo>
                      <a:lnTo>
                        <a:pt x="538" y="548"/>
                      </a:lnTo>
                      <a:lnTo>
                        <a:pt x="548" y="572"/>
                      </a:lnTo>
                      <a:lnTo>
                        <a:pt x="554" y="580"/>
                      </a:lnTo>
                      <a:lnTo>
                        <a:pt x="558" y="594"/>
                      </a:lnTo>
                      <a:lnTo>
                        <a:pt x="568" y="610"/>
                      </a:lnTo>
                      <a:lnTo>
                        <a:pt x="570" y="614"/>
                      </a:lnTo>
                      <a:lnTo>
                        <a:pt x="584" y="638"/>
                      </a:lnTo>
                      <a:lnTo>
                        <a:pt x="590" y="638"/>
                      </a:lnTo>
                      <a:lnTo>
                        <a:pt x="592" y="642"/>
                      </a:lnTo>
                      <a:lnTo>
                        <a:pt x="590" y="648"/>
                      </a:lnTo>
                      <a:lnTo>
                        <a:pt x="598" y="658"/>
                      </a:lnTo>
                      <a:lnTo>
                        <a:pt x="608" y="676"/>
                      </a:lnTo>
                      <a:lnTo>
                        <a:pt x="626" y="688"/>
                      </a:lnTo>
                      <a:lnTo>
                        <a:pt x="642" y="690"/>
                      </a:lnTo>
                      <a:lnTo>
                        <a:pt x="638" y="678"/>
                      </a:lnTo>
                      <a:lnTo>
                        <a:pt x="646" y="688"/>
                      </a:lnTo>
                      <a:lnTo>
                        <a:pt x="650" y="672"/>
                      </a:lnTo>
                      <a:lnTo>
                        <a:pt x="648" y="652"/>
                      </a:lnTo>
                      <a:lnTo>
                        <a:pt x="638" y="634"/>
                      </a:lnTo>
                      <a:lnTo>
                        <a:pt x="632" y="622"/>
                      </a:lnTo>
                      <a:lnTo>
                        <a:pt x="626" y="620"/>
                      </a:lnTo>
                      <a:lnTo>
                        <a:pt x="624" y="616"/>
                      </a:lnTo>
                      <a:lnTo>
                        <a:pt x="626" y="612"/>
                      </a:lnTo>
                      <a:lnTo>
                        <a:pt x="612" y="590"/>
                      </a:lnTo>
                      <a:lnTo>
                        <a:pt x="608" y="584"/>
                      </a:lnTo>
                      <a:lnTo>
                        <a:pt x="598" y="568"/>
                      </a:lnTo>
                      <a:lnTo>
                        <a:pt x="588" y="560"/>
                      </a:lnTo>
                      <a:lnTo>
                        <a:pt x="584" y="550"/>
                      </a:lnTo>
                      <a:lnTo>
                        <a:pt x="568" y="530"/>
                      </a:lnTo>
                      <a:lnTo>
                        <a:pt x="568" y="530"/>
                      </a:lnTo>
                      <a:lnTo>
                        <a:pt x="586" y="536"/>
                      </a:lnTo>
                      <a:lnTo>
                        <a:pt x="592" y="538"/>
                      </a:lnTo>
                      <a:lnTo>
                        <a:pt x="598" y="536"/>
                      </a:lnTo>
                      <a:lnTo>
                        <a:pt x="598" y="536"/>
                      </a:lnTo>
                      <a:lnTo>
                        <a:pt x="600" y="538"/>
                      </a:lnTo>
                      <a:lnTo>
                        <a:pt x="604" y="540"/>
                      </a:lnTo>
                      <a:lnTo>
                        <a:pt x="618" y="552"/>
                      </a:lnTo>
                      <a:lnTo>
                        <a:pt x="654" y="590"/>
                      </a:lnTo>
                      <a:lnTo>
                        <a:pt x="714" y="658"/>
                      </a:lnTo>
                      <a:lnTo>
                        <a:pt x="714" y="658"/>
                      </a:lnTo>
                      <a:lnTo>
                        <a:pt x="724" y="666"/>
                      </a:lnTo>
                      <a:lnTo>
                        <a:pt x="740" y="676"/>
                      </a:lnTo>
                      <a:lnTo>
                        <a:pt x="770" y="692"/>
                      </a:lnTo>
                      <a:lnTo>
                        <a:pt x="770" y="692"/>
                      </a:lnTo>
                      <a:lnTo>
                        <a:pt x="792" y="698"/>
                      </a:lnTo>
                      <a:lnTo>
                        <a:pt x="804" y="702"/>
                      </a:lnTo>
                      <a:lnTo>
                        <a:pt x="804" y="702"/>
                      </a:lnTo>
                      <a:lnTo>
                        <a:pt x="814" y="706"/>
                      </a:lnTo>
                      <a:lnTo>
                        <a:pt x="822" y="708"/>
                      </a:lnTo>
                      <a:lnTo>
                        <a:pt x="830" y="708"/>
                      </a:lnTo>
                      <a:lnTo>
                        <a:pt x="830" y="708"/>
                      </a:lnTo>
                      <a:lnTo>
                        <a:pt x="836" y="708"/>
                      </a:lnTo>
                      <a:lnTo>
                        <a:pt x="842" y="708"/>
                      </a:lnTo>
                      <a:lnTo>
                        <a:pt x="848" y="710"/>
                      </a:lnTo>
                      <a:lnTo>
                        <a:pt x="852" y="722"/>
                      </a:lnTo>
                      <a:lnTo>
                        <a:pt x="904" y="736"/>
                      </a:lnTo>
                      <a:lnTo>
                        <a:pt x="904" y="736"/>
                      </a:lnTo>
                      <a:lnTo>
                        <a:pt x="910" y="736"/>
                      </a:lnTo>
                      <a:lnTo>
                        <a:pt x="914" y="734"/>
                      </a:lnTo>
                      <a:lnTo>
                        <a:pt x="916" y="732"/>
                      </a:lnTo>
                      <a:lnTo>
                        <a:pt x="916" y="730"/>
                      </a:lnTo>
                      <a:lnTo>
                        <a:pt x="916" y="730"/>
                      </a:lnTo>
                      <a:lnTo>
                        <a:pt x="914" y="722"/>
                      </a:lnTo>
                      <a:lnTo>
                        <a:pt x="910" y="716"/>
                      </a:lnTo>
                      <a:lnTo>
                        <a:pt x="898" y="700"/>
                      </a:lnTo>
                      <a:lnTo>
                        <a:pt x="898" y="700"/>
                      </a:lnTo>
                      <a:lnTo>
                        <a:pt x="892" y="694"/>
                      </a:lnTo>
                      <a:lnTo>
                        <a:pt x="884" y="690"/>
                      </a:lnTo>
                      <a:lnTo>
                        <a:pt x="878" y="688"/>
                      </a:lnTo>
                      <a:lnTo>
                        <a:pt x="878" y="688"/>
                      </a:lnTo>
                      <a:close/>
                      <a:moveTo>
                        <a:pt x="478" y="422"/>
                      </a:moveTo>
                      <a:lnTo>
                        <a:pt x="478" y="422"/>
                      </a:lnTo>
                      <a:lnTo>
                        <a:pt x="478" y="422"/>
                      </a:lnTo>
                      <a:lnTo>
                        <a:pt x="478" y="420"/>
                      </a:lnTo>
                      <a:lnTo>
                        <a:pt x="478" y="4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ffectLst>
                  <a:glow rad="38100">
                    <a:schemeClr val="bg2">
                      <a:lumMod val="60000"/>
                      <a:lumOff val="40000"/>
                      <a:alpha val="19000"/>
                    </a:schemeClr>
                  </a:glow>
                  <a:softEdge rad="12700"/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138" name="Group 715"/>
            <p:cNvGrpSpPr/>
            <p:nvPr/>
          </p:nvGrpSpPr>
          <p:grpSpPr>
            <a:xfrm>
              <a:off x="2" y="-16"/>
              <a:ext cx="9252335" cy="6787414"/>
              <a:chOff x="2" y="-16"/>
              <a:chExt cx="9252335" cy="6787414"/>
            </a:xfrm>
          </p:grpSpPr>
          <p:grpSp>
            <p:nvGrpSpPr>
              <p:cNvPr id="139" name="Group 129"/>
              <p:cNvGrpSpPr>
                <a:grpSpLocks noChangeAspect="1"/>
              </p:cNvGrpSpPr>
              <p:nvPr/>
            </p:nvGrpSpPr>
            <p:grpSpPr>
              <a:xfrm rot="20119239">
                <a:off x="7445117" y="3056828"/>
                <a:ext cx="1807220" cy="3062371"/>
                <a:chOff x="2048564" y="457200"/>
                <a:chExt cx="6368361" cy="10791417"/>
              </a:xfrm>
              <a:solidFill>
                <a:schemeClr val="bg2">
                  <a:lumMod val="60000"/>
                  <a:lumOff val="40000"/>
                  <a:alpha val="18000"/>
                </a:schemeClr>
              </a:solidFill>
            </p:grpSpPr>
            <p:sp>
              <p:nvSpPr>
                <p:cNvPr id="175" name="Freeform 86"/>
                <p:cNvSpPr>
                  <a:spLocks/>
                </p:cNvSpPr>
                <p:nvPr/>
              </p:nvSpPr>
              <p:spPr bwMode="auto">
                <a:xfrm>
                  <a:off x="6400801" y="787399"/>
                  <a:ext cx="390524" cy="581026"/>
                </a:xfrm>
                <a:custGeom>
                  <a:avLst/>
                  <a:gdLst/>
                  <a:ahLst/>
                  <a:cxnLst>
                    <a:cxn ang="0">
                      <a:pos x="242" y="366"/>
                    </a:cxn>
                    <a:cxn ang="0">
                      <a:pos x="242" y="366"/>
                    </a:cxn>
                    <a:cxn ang="0">
                      <a:pos x="244" y="364"/>
                    </a:cxn>
                    <a:cxn ang="0">
                      <a:pos x="246" y="364"/>
                    </a:cxn>
                    <a:cxn ang="0">
                      <a:pos x="246" y="364"/>
                    </a:cxn>
                    <a:cxn ang="0">
                      <a:pos x="236" y="348"/>
                    </a:cxn>
                    <a:cxn ang="0">
                      <a:pos x="50" y="54"/>
                    </a:cxn>
                    <a:cxn ang="0">
                      <a:pos x="50" y="54"/>
                    </a:cxn>
                    <a:cxn ang="0">
                      <a:pos x="32" y="28"/>
                    </a:cxn>
                    <a:cxn ang="0">
                      <a:pos x="32" y="26"/>
                    </a:cxn>
                    <a:cxn ang="0">
                      <a:pos x="32" y="26"/>
                    </a:cxn>
                    <a:cxn ang="0">
                      <a:pos x="22" y="14"/>
                    </a:cxn>
                    <a:cxn ang="0">
                      <a:pos x="10" y="4"/>
                    </a:cxn>
                    <a:cxn ang="0">
                      <a:pos x="10" y="4"/>
                    </a:cxn>
                    <a:cxn ang="0">
                      <a:pos x="6" y="2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6"/>
                    </a:cxn>
                    <a:cxn ang="0">
                      <a:pos x="0" y="6"/>
                    </a:cxn>
                    <a:cxn ang="0">
                      <a:pos x="4" y="16"/>
                    </a:cxn>
                    <a:cxn ang="0">
                      <a:pos x="10" y="24"/>
                    </a:cxn>
                    <a:cxn ang="0">
                      <a:pos x="10" y="24"/>
                    </a:cxn>
                    <a:cxn ang="0">
                      <a:pos x="20" y="34"/>
                    </a:cxn>
                    <a:cxn ang="0">
                      <a:pos x="28" y="44"/>
                    </a:cxn>
                    <a:cxn ang="0">
                      <a:pos x="232" y="352"/>
                    </a:cxn>
                    <a:cxn ang="0">
                      <a:pos x="232" y="352"/>
                    </a:cxn>
                    <a:cxn ang="0">
                      <a:pos x="238" y="362"/>
                    </a:cxn>
                    <a:cxn ang="0">
                      <a:pos x="242" y="366"/>
                    </a:cxn>
                    <a:cxn ang="0">
                      <a:pos x="242" y="366"/>
                    </a:cxn>
                  </a:cxnLst>
                  <a:rect l="0" t="0" r="r" b="b"/>
                  <a:pathLst>
                    <a:path w="246" h="366">
                      <a:moveTo>
                        <a:pt x="242" y="366"/>
                      </a:moveTo>
                      <a:lnTo>
                        <a:pt x="242" y="366"/>
                      </a:lnTo>
                      <a:lnTo>
                        <a:pt x="244" y="364"/>
                      </a:lnTo>
                      <a:lnTo>
                        <a:pt x="246" y="364"/>
                      </a:lnTo>
                      <a:lnTo>
                        <a:pt x="246" y="364"/>
                      </a:lnTo>
                      <a:lnTo>
                        <a:pt x="236" y="348"/>
                      </a:lnTo>
                      <a:lnTo>
                        <a:pt x="50" y="54"/>
                      </a:lnTo>
                      <a:lnTo>
                        <a:pt x="50" y="54"/>
                      </a:lnTo>
                      <a:lnTo>
                        <a:pt x="32" y="28"/>
                      </a:lnTo>
                      <a:lnTo>
                        <a:pt x="32" y="26"/>
                      </a:lnTo>
                      <a:lnTo>
                        <a:pt x="32" y="26"/>
                      </a:lnTo>
                      <a:lnTo>
                        <a:pt x="22" y="1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16"/>
                      </a:lnTo>
                      <a:lnTo>
                        <a:pt x="10" y="24"/>
                      </a:lnTo>
                      <a:lnTo>
                        <a:pt x="10" y="24"/>
                      </a:lnTo>
                      <a:lnTo>
                        <a:pt x="20" y="34"/>
                      </a:lnTo>
                      <a:lnTo>
                        <a:pt x="28" y="44"/>
                      </a:lnTo>
                      <a:lnTo>
                        <a:pt x="232" y="352"/>
                      </a:lnTo>
                      <a:lnTo>
                        <a:pt x="232" y="352"/>
                      </a:lnTo>
                      <a:lnTo>
                        <a:pt x="238" y="362"/>
                      </a:lnTo>
                      <a:lnTo>
                        <a:pt x="242" y="366"/>
                      </a:lnTo>
                      <a:lnTo>
                        <a:pt x="242" y="3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87"/>
                <p:cNvSpPr>
                  <a:spLocks/>
                </p:cNvSpPr>
                <p:nvPr/>
              </p:nvSpPr>
              <p:spPr bwMode="auto">
                <a:xfrm>
                  <a:off x="6791325" y="1381124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Freeform 88"/>
                <p:cNvSpPr>
                  <a:spLocks/>
                </p:cNvSpPr>
                <p:nvPr/>
              </p:nvSpPr>
              <p:spPr bwMode="auto">
                <a:xfrm>
                  <a:off x="6819900" y="787399"/>
                  <a:ext cx="387350" cy="581026"/>
                </a:xfrm>
                <a:custGeom>
                  <a:avLst/>
                  <a:gdLst/>
                  <a:ahLst/>
                  <a:cxnLst>
                    <a:cxn ang="0">
                      <a:pos x="2" y="366"/>
                    </a:cxn>
                    <a:cxn ang="0">
                      <a:pos x="2" y="366"/>
                    </a:cxn>
                    <a:cxn ang="0">
                      <a:pos x="6" y="362"/>
                    </a:cxn>
                    <a:cxn ang="0">
                      <a:pos x="14" y="352"/>
                    </a:cxn>
                    <a:cxn ang="0">
                      <a:pos x="216" y="44"/>
                    </a:cxn>
                    <a:cxn ang="0">
                      <a:pos x="216" y="44"/>
                    </a:cxn>
                    <a:cxn ang="0">
                      <a:pos x="226" y="34"/>
                    </a:cxn>
                    <a:cxn ang="0">
                      <a:pos x="234" y="24"/>
                    </a:cxn>
                    <a:cxn ang="0">
                      <a:pos x="234" y="24"/>
                    </a:cxn>
                    <a:cxn ang="0">
                      <a:pos x="240" y="16"/>
                    </a:cxn>
                    <a:cxn ang="0">
                      <a:pos x="244" y="6"/>
                    </a:cxn>
                    <a:cxn ang="0">
                      <a:pos x="244" y="6"/>
                    </a:cxn>
                    <a:cxn ang="0">
                      <a:pos x="244" y="2"/>
                    </a:cxn>
                    <a:cxn ang="0">
                      <a:pos x="242" y="0"/>
                    </a:cxn>
                    <a:cxn ang="0">
                      <a:pos x="238" y="2"/>
                    </a:cxn>
                    <a:cxn ang="0">
                      <a:pos x="234" y="4"/>
                    </a:cxn>
                    <a:cxn ang="0">
                      <a:pos x="234" y="4"/>
                    </a:cxn>
                    <a:cxn ang="0">
                      <a:pos x="222" y="14"/>
                    </a:cxn>
                    <a:cxn ang="0">
                      <a:pos x="212" y="26"/>
                    </a:cxn>
                    <a:cxn ang="0">
                      <a:pos x="212" y="28"/>
                    </a:cxn>
                    <a:cxn ang="0">
                      <a:pos x="212" y="28"/>
                    </a:cxn>
                    <a:cxn ang="0">
                      <a:pos x="194" y="54"/>
                    </a:cxn>
                    <a:cxn ang="0">
                      <a:pos x="8" y="348"/>
                    </a:cxn>
                    <a:cxn ang="0">
                      <a:pos x="8" y="348"/>
                    </a:cxn>
                    <a:cxn ang="0">
                      <a:pos x="0" y="364"/>
                    </a:cxn>
                    <a:cxn ang="0">
                      <a:pos x="0" y="364"/>
                    </a:cxn>
                    <a:cxn ang="0">
                      <a:pos x="0" y="366"/>
                    </a:cxn>
                    <a:cxn ang="0">
                      <a:pos x="0" y="366"/>
                    </a:cxn>
                    <a:cxn ang="0">
                      <a:pos x="2" y="366"/>
                    </a:cxn>
                    <a:cxn ang="0">
                      <a:pos x="2" y="366"/>
                    </a:cxn>
                  </a:cxnLst>
                  <a:rect l="0" t="0" r="r" b="b"/>
                  <a:pathLst>
                    <a:path w="244" h="366">
                      <a:moveTo>
                        <a:pt x="2" y="366"/>
                      </a:moveTo>
                      <a:lnTo>
                        <a:pt x="2" y="366"/>
                      </a:lnTo>
                      <a:lnTo>
                        <a:pt x="6" y="362"/>
                      </a:lnTo>
                      <a:lnTo>
                        <a:pt x="14" y="352"/>
                      </a:lnTo>
                      <a:lnTo>
                        <a:pt x="216" y="44"/>
                      </a:lnTo>
                      <a:lnTo>
                        <a:pt x="216" y="44"/>
                      </a:lnTo>
                      <a:lnTo>
                        <a:pt x="226" y="34"/>
                      </a:lnTo>
                      <a:lnTo>
                        <a:pt x="234" y="24"/>
                      </a:lnTo>
                      <a:lnTo>
                        <a:pt x="234" y="24"/>
                      </a:lnTo>
                      <a:lnTo>
                        <a:pt x="240" y="16"/>
                      </a:lnTo>
                      <a:lnTo>
                        <a:pt x="244" y="6"/>
                      </a:lnTo>
                      <a:lnTo>
                        <a:pt x="244" y="6"/>
                      </a:lnTo>
                      <a:lnTo>
                        <a:pt x="244" y="2"/>
                      </a:lnTo>
                      <a:lnTo>
                        <a:pt x="242" y="0"/>
                      </a:lnTo>
                      <a:lnTo>
                        <a:pt x="238" y="2"/>
                      </a:lnTo>
                      <a:lnTo>
                        <a:pt x="234" y="4"/>
                      </a:lnTo>
                      <a:lnTo>
                        <a:pt x="234" y="4"/>
                      </a:lnTo>
                      <a:lnTo>
                        <a:pt x="222" y="14"/>
                      </a:lnTo>
                      <a:lnTo>
                        <a:pt x="212" y="26"/>
                      </a:lnTo>
                      <a:lnTo>
                        <a:pt x="212" y="28"/>
                      </a:lnTo>
                      <a:lnTo>
                        <a:pt x="212" y="28"/>
                      </a:lnTo>
                      <a:lnTo>
                        <a:pt x="194" y="54"/>
                      </a:lnTo>
                      <a:lnTo>
                        <a:pt x="8" y="348"/>
                      </a:lnTo>
                      <a:lnTo>
                        <a:pt x="8" y="348"/>
                      </a:lnTo>
                      <a:lnTo>
                        <a:pt x="0" y="364"/>
                      </a:lnTo>
                      <a:lnTo>
                        <a:pt x="0" y="364"/>
                      </a:lnTo>
                      <a:lnTo>
                        <a:pt x="0" y="366"/>
                      </a:lnTo>
                      <a:lnTo>
                        <a:pt x="0" y="366"/>
                      </a:lnTo>
                      <a:lnTo>
                        <a:pt x="2" y="366"/>
                      </a:lnTo>
                      <a:lnTo>
                        <a:pt x="2" y="36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Freeform 89"/>
                <p:cNvSpPr>
                  <a:spLocks noEditPoints="1"/>
                </p:cNvSpPr>
                <p:nvPr/>
              </p:nvSpPr>
              <p:spPr bwMode="auto">
                <a:xfrm>
                  <a:off x="5181600" y="457200"/>
                  <a:ext cx="3235325" cy="2759075"/>
                </a:xfrm>
                <a:custGeom>
                  <a:avLst/>
                  <a:gdLst/>
                  <a:ahLst/>
                  <a:cxnLst>
                    <a:cxn ang="0">
                      <a:pos x="1778" y="8"/>
                    </a:cxn>
                    <a:cxn ang="0">
                      <a:pos x="1424" y="184"/>
                    </a:cxn>
                    <a:cxn ang="0">
                      <a:pos x="1152" y="514"/>
                    </a:cxn>
                    <a:cxn ang="0">
                      <a:pos x="1064" y="610"/>
                    </a:cxn>
                    <a:cxn ang="0">
                      <a:pos x="1042" y="574"/>
                    </a:cxn>
                    <a:cxn ang="0">
                      <a:pos x="1014" y="574"/>
                    </a:cxn>
                    <a:cxn ang="0">
                      <a:pos x="982" y="586"/>
                    </a:cxn>
                    <a:cxn ang="0">
                      <a:pos x="964" y="644"/>
                    </a:cxn>
                    <a:cxn ang="0">
                      <a:pos x="774" y="350"/>
                    </a:cxn>
                    <a:cxn ang="0">
                      <a:pos x="432" y="66"/>
                    </a:cxn>
                    <a:cxn ang="0">
                      <a:pos x="60" y="14"/>
                    </a:cxn>
                    <a:cxn ang="0">
                      <a:pos x="58" y="236"/>
                    </a:cxn>
                    <a:cxn ang="0">
                      <a:pos x="100" y="298"/>
                    </a:cxn>
                    <a:cxn ang="0">
                      <a:pos x="154" y="358"/>
                    </a:cxn>
                    <a:cxn ang="0">
                      <a:pos x="190" y="458"/>
                    </a:cxn>
                    <a:cxn ang="0">
                      <a:pos x="216" y="506"/>
                    </a:cxn>
                    <a:cxn ang="0">
                      <a:pos x="228" y="580"/>
                    </a:cxn>
                    <a:cxn ang="0">
                      <a:pos x="252" y="632"/>
                    </a:cxn>
                    <a:cxn ang="0">
                      <a:pos x="320" y="740"/>
                    </a:cxn>
                    <a:cxn ang="0">
                      <a:pos x="628" y="780"/>
                    </a:cxn>
                    <a:cxn ang="0">
                      <a:pos x="422" y="938"/>
                    </a:cxn>
                    <a:cxn ang="0">
                      <a:pos x="446" y="1044"/>
                    </a:cxn>
                    <a:cxn ang="0">
                      <a:pos x="548" y="1174"/>
                    </a:cxn>
                    <a:cxn ang="0">
                      <a:pos x="588" y="1256"/>
                    </a:cxn>
                    <a:cxn ang="0">
                      <a:pos x="646" y="1306"/>
                    </a:cxn>
                    <a:cxn ang="0">
                      <a:pos x="650" y="1464"/>
                    </a:cxn>
                    <a:cxn ang="0">
                      <a:pos x="562" y="1580"/>
                    </a:cxn>
                    <a:cxn ang="0">
                      <a:pos x="516" y="1698"/>
                    </a:cxn>
                    <a:cxn ang="0">
                      <a:pos x="554" y="1734"/>
                    </a:cxn>
                    <a:cxn ang="0">
                      <a:pos x="670" y="1586"/>
                    </a:cxn>
                    <a:cxn ang="0">
                      <a:pos x="770" y="1476"/>
                    </a:cxn>
                    <a:cxn ang="0">
                      <a:pos x="890" y="1070"/>
                    </a:cxn>
                    <a:cxn ang="0">
                      <a:pos x="938" y="954"/>
                    </a:cxn>
                    <a:cxn ang="0">
                      <a:pos x="962" y="1146"/>
                    </a:cxn>
                    <a:cxn ang="0">
                      <a:pos x="1022" y="1320"/>
                    </a:cxn>
                    <a:cxn ang="0">
                      <a:pos x="1076" y="1068"/>
                    </a:cxn>
                    <a:cxn ang="0">
                      <a:pos x="1106" y="958"/>
                    </a:cxn>
                    <a:cxn ang="0">
                      <a:pos x="1160" y="1136"/>
                    </a:cxn>
                    <a:cxn ang="0">
                      <a:pos x="1268" y="1476"/>
                    </a:cxn>
                    <a:cxn ang="0">
                      <a:pos x="1366" y="1586"/>
                    </a:cxn>
                    <a:cxn ang="0">
                      <a:pos x="1494" y="1738"/>
                    </a:cxn>
                    <a:cxn ang="0">
                      <a:pos x="1520" y="1676"/>
                    </a:cxn>
                    <a:cxn ang="0">
                      <a:pos x="1456" y="1558"/>
                    </a:cxn>
                    <a:cxn ang="0">
                      <a:pos x="1382" y="1442"/>
                    </a:cxn>
                    <a:cxn ang="0">
                      <a:pos x="1396" y="1300"/>
                    </a:cxn>
                    <a:cxn ang="0">
                      <a:pos x="1460" y="1236"/>
                    </a:cxn>
                    <a:cxn ang="0">
                      <a:pos x="1508" y="1166"/>
                    </a:cxn>
                    <a:cxn ang="0">
                      <a:pos x="1600" y="1020"/>
                    </a:cxn>
                    <a:cxn ang="0">
                      <a:pos x="1596" y="918"/>
                    </a:cxn>
                    <a:cxn ang="0">
                      <a:pos x="1454" y="772"/>
                    </a:cxn>
                    <a:cxn ang="0">
                      <a:pos x="1722" y="734"/>
                    </a:cxn>
                    <a:cxn ang="0">
                      <a:pos x="1788" y="628"/>
                    </a:cxn>
                    <a:cxn ang="0">
                      <a:pos x="1820" y="562"/>
                    </a:cxn>
                    <a:cxn ang="0">
                      <a:pos x="1824" y="498"/>
                    </a:cxn>
                    <a:cxn ang="0">
                      <a:pos x="1846" y="452"/>
                    </a:cxn>
                    <a:cxn ang="0">
                      <a:pos x="1884" y="358"/>
                    </a:cxn>
                    <a:cxn ang="0">
                      <a:pos x="1946" y="286"/>
                    </a:cxn>
                    <a:cxn ang="0">
                      <a:pos x="1984" y="232"/>
                    </a:cxn>
                    <a:cxn ang="0">
                      <a:pos x="1014" y="582"/>
                    </a:cxn>
                  </a:cxnLst>
                  <a:rect l="0" t="0" r="r" b="b"/>
                  <a:pathLst>
                    <a:path w="2038" h="1738">
                      <a:moveTo>
                        <a:pt x="2036" y="78"/>
                      </a:moveTo>
                      <a:lnTo>
                        <a:pt x="2018" y="44"/>
                      </a:lnTo>
                      <a:lnTo>
                        <a:pt x="1978" y="14"/>
                      </a:lnTo>
                      <a:lnTo>
                        <a:pt x="1916" y="2"/>
                      </a:lnTo>
                      <a:lnTo>
                        <a:pt x="1850" y="0"/>
                      </a:lnTo>
                      <a:lnTo>
                        <a:pt x="1850" y="0"/>
                      </a:lnTo>
                      <a:lnTo>
                        <a:pt x="1832" y="0"/>
                      </a:lnTo>
                      <a:lnTo>
                        <a:pt x="1808" y="4"/>
                      </a:lnTo>
                      <a:lnTo>
                        <a:pt x="1778" y="8"/>
                      </a:lnTo>
                      <a:lnTo>
                        <a:pt x="1742" y="16"/>
                      </a:lnTo>
                      <a:lnTo>
                        <a:pt x="1702" y="28"/>
                      </a:lnTo>
                      <a:lnTo>
                        <a:pt x="1656" y="46"/>
                      </a:lnTo>
                      <a:lnTo>
                        <a:pt x="1606" y="66"/>
                      </a:lnTo>
                      <a:lnTo>
                        <a:pt x="1606" y="66"/>
                      </a:lnTo>
                      <a:lnTo>
                        <a:pt x="1558" y="92"/>
                      </a:lnTo>
                      <a:lnTo>
                        <a:pt x="1510" y="120"/>
                      </a:lnTo>
                      <a:lnTo>
                        <a:pt x="1466" y="152"/>
                      </a:lnTo>
                      <a:lnTo>
                        <a:pt x="1424" y="184"/>
                      </a:lnTo>
                      <a:lnTo>
                        <a:pt x="1382" y="222"/>
                      </a:lnTo>
                      <a:lnTo>
                        <a:pt x="1342" y="260"/>
                      </a:lnTo>
                      <a:lnTo>
                        <a:pt x="1302" y="304"/>
                      </a:lnTo>
                      <a:lnTo>
                        <a:pt x="1264" y="350"/>
                      </a:lnTo>
                      <a:lnTo>
                        <a:pt x="1264" y="350"/>
                      </a:lnTo>
                      <a:lnTo>
                        <a:pt x="1234" y="388"/>
                      </a:lnTo>
                      <a:lnTo>
                        <a:pt x="1204" y="430"/>
                      </a:lnTo>
                      <a:lnTo>
                        <a:pt x="1176" y="472"/>
                      </a:lnTo>
                      <a:lnTo>
                        <a:pt x="1152" y="514"/>
                      </a:lnTo>
                      <a:lnTo>
                        <a:pt x="1110" y="590"/>
                      </a:lnTo>
                      <a:lnTo>
                        <a:pt x="1080" y="646"/>
                      </a:lnTo>
                      <a:lnTo>
                        <a:pt x="1080" y="646"/>
                      </a:lnTo>
                      <a:lnTo>
                        <a:pt x="1074" y="644"/>
                      </a:lnTo>
                      <a:lnTo>
                        <a:pt x="1074" y="644"/>
                      </a:lnTo>
                      <a:lnTo>
                        <a:pt x="1068" y="632"/>
                      </a:lnTo>
                      <a:lnTo>
                        <a:pt x="1060" y="618"/>
                      </a:lnTo>
                      <a:lnTo>
                        <a:pt x="1060" y="618"/>
                      </a:lnTo>
                      <a:lnTo>
                        <a:pt x="1064" y="610"/>
                      </a:lnTo>
                      <a:lnTo>
                        <a:pt x="1066" y="602"/>
                      </a:lnTo>
                      <a:lnTo>
                        <a:pt x="1066" y="602"/>
                      </a:lnTo>
                      <a:lnTo>
                        <a:pt x="1064" y="592"/>
                      </a:lnTo>
                      <a:lnTo>
                        <a:pt x="1060" y="586"/>
                      </a:lnTo>
                      <a:lnTo>
                        <a:pt x="1052" y="580"/>
                      </a:lnTo>
                      <a:lnTo>
                        <a:pt x="1042" y="578"/>
                      </a:lnTo>
                      <a:lnTo>
                        <a:pt x="1042" y="578"/>
                      </a:lnTo>
                      <a:lnTo>
                        <a:pt x="1040" y="580"/>
                      </a:lnTo>
                      <a:lnTo>
                        <a:pt x="1042" y="574"/>
                      </a:lnTo>
                      <a:lnTo>
                        <a:pt x="1036" y="574"/>
                      </a:lnTo>
                      <a:lnTo>
                        <a:pt x="1032" y="574"/>
                      </a:lnTo>
                      <a:lnTo>
                        <a:pt x="1032" y="574"/>
                      </a:lnTo>
                      <a:lnTo>
                        <a:pt x="1024" y="568"/>
                      </a:lnTo>
                      <a:lnTo>
                        <a:pt x="1024" y="568"/>
                      </a:lnTo>
                      <a:lnTo>
                        <a:pt x="1022" y="568"/>
                      </a:lnTo>
                      <a:lnTo>
                        <a:pt x="1018" y="570"/>
                      </a:lnTo>
                      <a:lnTo>
                        <a:pt x="1012" y="570"/>
                      </a:lnTo>
                      <a:lnTo>
                        <a:pt x="1014" y="574"/>
                      </a:lnTo>
                      <a:lnTo>
                        <a:pt x="1008" y="574"/>
                      </a:lnTo>
                      <a:lnTo>
                        <a:pt x="1004" y="574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0" y="578"/>
                      </a:lnTo>
                      <a:lnTo>
                        <a:pt x="1000" y="578"/>
                      </a:lnTo>
                      <a:lnTo>
                        <a:pt x="990" y="580"/>
                      </a:lnTo>
                      <a:lnTo>
                        <a:pt x="982" y="586"/>
                      </a:lnTo>
                      <a:lnTo>
                        <a:pt x="978" y="592"/>
                      </a:lnTo>
                      <a:lnTo>
                        <a:pt x="976" y="602"/>
                      </a:lnTo>
                      <a:lnTo>
                        <a:pt x="976" y="602"/>
                      </a:lnTo>
                      <a:lnTo>
                        <a:pt x="978" y="608"/>
                      </a:lnTo>
                      <a:lnTo>
                        <a:pt x="980" y="616"/>
                      </a:lnTo>
                      <a:lnTo>
                        <a:pt x="980" y="616"/>
                      </a:lnTo>
                      <a:lnTo>
                        <a:pt x="970" y="632"/>
                      </a:lnTo>
                      <a:lnTo>
                        <a:pt x="964" y="644"/>
                      </a:lnTo>
                      <a:lnTo>
                        <a:pt x="964" y="644"/>
                      </a:lnTo>
                      <a:lnTo>
                        <a:pt x="958" y="646"/>
                      </a:lnTo>
                      <a:lnTo>
                        <a:pt x="958" y="646"/>
                      </a:lnTo>
                      <a:lnTo>
                        <a:pt x="928" y="590"/>
                      </a:lnTo>
                      <a:lnTo>
                        <a:pt x="886" y="514"/>
                      </a:lnTo>
                      <a:lnTo>
                        <a:pt x="860" y="472"/>
                      </a:lnTo>
                      <a:lnTo>
                        <a:pt x="834" y="430"/>
                      </a:lnTo>
                      <a:lnTo>
                        <a:pt x="804" y="388"/>
                      </a:lnTo>
                      <a:lnTo>
                        <a:pt x="774" y="350"/>
                      </a:lnTo>
                      <a:lnTo>
                        <a:pt x="774" y="350"/>
                      </a:lnTo>
                      <a:lnTo>
                        <a:pt x="736" y="304"/>
                      </a:lnTo>
                      <a:lnTo>
                        <a:pt x="696" y="260"/>
                      </a:lnTo>
                      <a:lnTo>
                        <a:pt x="656" y="222"/>
                      </a:lnTo>
                      <a:lnTo>
                        <a:pt x="614" y="184"/>
                      </a:lnTo>
                      <a:lnTo>
                        <a:pt x="572" y="152"/>
                      </a:lnTo>
                      <a:lnTo>
                        <a:pt x="528" y="120"/>
                      </a:lnTo>
                      <a:lnTo>
                        <a:pt x="480" y="92"/>
                      </a:lnTo>
                      <a:lnTo>
                        <a:pt x="432" y="66"/>
                      </a:lnTo>
                      <a:lnTo>
                        <a:pt x="432" y="66"/>
                      </a:lnTo>
                      <a:lnTo>
                        <a:pt x="382" y="46"/>
                      </a:lnTo>
                      <a:lnTo>
                        <a:pt x="336" y="28"/>
                      </a:lnTo>
                      <a:lnTo>
                        <a:pt x="296" y="16"/>
                      </a:lnTo>
                      <a:lnTo>
                        <a:pt x="260" y="8"/>
                      </a:lnTo>
                      <a:lnTo>
                        <a:pt x="230" y="4"/>
                      </a:lnTo>
                      <a:lnTo>
                        <a:pt x="206" y="0"/>
                      </a:lnTo>
                      <a:lnTo>
                        <a:pt x="188" y="0"/>
                      </a:lnTo>
                      <a:lnTo>
                        <a:pt x="122" y="2"/>
                      </a:lnTo>
                      <a:lnTo>
                        <a:pt x="60" y="14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4"/>
                      </a:lnTo>
                      <a:lnTo>
                        <a:pt x="10" y="156"/>
                      </a:lnTo>
                      <a:lnTo>
                        <a:pt x="32" y="202"/>
                      </a:lnTo>
                      <a:lnTo>
                        <a:pt x="32" y="202"/>
                      </a:lnTo>
                      <a:lnTo>
                        <a:pt x="42" y="218"/>
                      </a:lnTo>
                      <a:lnTo>
                        <a:pt x="54" y="232"/>
                      </a:lnTo>
                      <a:lnTo>
                        <a:pt x="58" y="236"/>
                      </a:lnTo>
                      <a:lnTo>
                        <a:pt x="64" y="240"/>
                      </a:lnTo>
                      <a:lnTo>
                        <a:pt x="64" y="240"/>
                      </a:lnTo>
                      <a:lnTo>
                        <a:pt x="68" y="242"/>
                      </a:lnTo>
                      <a:lnTo>
                        <a:pt x="72" y="246"/>
                      </a:lnTo>
                      <a:lnTo>
                        <a:pt x="78" y="258"/>
                      </a:lnTo>
                      <a:lnTo>
                        <a:pt x="82" y="272"/>
                      </a:lnTo>
                      <a:lnTo>
                        <a:pt x="82" y="272"/>
                      </a:lnTo>
                      <a:lnTo>
                        <a:pt x="90" y="286"/>
                      </a:lnTo>
                      <a:lnTo>
                        <a:pt x="100" y="298"/>
                      </a:lnTo>
                      <a:lnTo>
                        <a:pt x="108" y="302"/>
                      </a:lnTo>
                      <a:lnTo>
                        <a:pt x="114" y="308"/>
                      </a:lnTo>
                      <a:lnTo>
                        <a:pt x="114" y="308"/>
                      </a:lnTo>
                      <a:lnTo>
                        <a:pt x="122" y="312"/>
                      </a:lnTo>
                      <a:lnTo>
                        <a:pt x="128" y="318"/>
                      </a:lnTo>
                      <a:lnTo>
                        <a:pt x="140" y="332"/>
                      </a:lnTo>
                      <a:lnTo>
                        <a:pt x="150" y="348"/>
                      </a:lnTo>
                      <a:lnTo>
                        <a:pt x="154" y="358"/>
                      </a:lnTo>
                      <a:lnTo>
                        <a:pt x="154" y="358"/>
                      </a:lnTo>
                      <a:lnTo>
                        <a:pt x="156" y="364"/>
                      </a:lnTo>
                      <a:lnTo>
                        <a:pt x="158" y="370"/>
                      </a:lnTo>
                      <a:lnTo>
                        <a:pt x="170" y="384"/>
                      </a:lnTo>
                      <a:lnTo>
                        <a:pt x="186" y="404"/>
                      </a:lnTo>
                      <a:lnTo>
                        <a:pt x="186" y="404"/>
                      </a:lnTo>
                      <a:lnTo>
                        <a:pt x="190" y="428"/>
                      </a:lnTo>
                      <a:lnTo>
                        <a:pt x="192" y="446"/>
                      </a:lnTo>
                      <a:lnTo>
                        <a:pt x="192" y="452"/>
                      </a:lnTo>
                      <a:lnTo>
                        <a:pt x="190" y="458"/>
                      </a:lnTo>
                      <a:lnTo>
                        <a:pt x="190" y="458"/>
                      </a:lnTo>
                      <a:lnTo>
                        <a:pt x="188" y="462"/>
                      </a:lnTo>
                      <a:lnTo>
                        <a:pt x="188" y="466"/>
                      </a:lnTo>
                      <a:lnTo>
                        <a:pt x="194" y="474"/>
                      </a:lnTo>
                      <a:lnTo>
                        <a:pt x="206" y="484"/>
                      </a:lnTo>
                      <a:lnTo>
                        <a:pt x="206" y="484"/>
                      </a:lnTo>
                      <a:lnTo>
                        <a:pt x="210" y="488"/>
                      </a:lnTo>
                      <a:lnTo>
                        <a:pt x="214" y="498"/>
                      </a:lnTo>
                      <a:lnTo>
                        <a:pt x="216" y="506"/>
                      </a:lnTo>
                      <a:lnTo>
                        <a:pt x="218" y="512"/>
                      </a:lnTo>
                      <a:lnTo>
                        <a:pt x="218" y="518"/>
                      </a:lnTo>
                      <a:lnTo>
                        <a:pt x="214" y="526"/>
                      </a:lnTo>
                      <a:lnTo>
                        <a:pt x="214" y="526"/>
                      </a:lnTo>
                      <a:lnTo>
                        <a:pt x="212" y="532"/>
                      </a:lnTo>
                      <a:lnTo>
                        <a:pt x="212" y="542"/>
                      </a:lnTo>
                      <a:lnTo>
                        <a:pt x="214" y="552"/>
                      </a:lnTo>
                      <a:lnTo>
                        <a:pt x="218" y="562"/>
                      </a:lnTo>
                      <a:lnTo>
                        <a:pt x="228" y="580"/>
                      </a:lnTo>
                      <a:lnTo>
                        <a:pt x="232" y="586"/>
                      </a:lnTo>
                      <a:lnTo>
                        <a:pt x="236" y="590"/>
                      </a:lnTo>
                      <a:lnTo>
                        <a:pt x="236" y="590"/>
                      </a:lnTo>
                      <a:lnTo>
                        <a:pt x="238" y="594"/>
                      </a:lnTo>
                      <a:lnTo>
                        <a:pt x="242" y="598"/>
                      </a:lnTo>
                      <a:lnTo>
                        <a:pt x="246" y="612"/>
                      </a:lnTo>
                      <a:lnTo>
                        <a:pt x="250" y="628"/>
                      </a:lnTo>
                      <a:lnTo>
                        <a:pt x="250" y="628"/>
                      </a:lnTo>
                      <a:lnTo>
                        <a:pt x="252" y="632"/>
                      </a:lnTo>
                      <a:lnTo>
                        <a:pt x="254" y="642"/>
                      </a:lnTo>
                      <a:lnTo>
                        <a:pt x="264" y="656"/>
                      </a:lnTo>
                      <a:lnTo>
                        <a:pt x="278" y="678"/>
                      </a:lnTo>
                      <a:lnTo>
                        <a:pt x="278" y="678"/>
                      </a:lnTo>
                      <a:lnTo>
                        <a:pt x="294" y="698"/>
                      </a:lnTo>
                      <a:lnTo>
                        <a:pt x="304" y="712"/>
                      </a:lnTo>
                      <a:lnTo>
                        <a:pt x="316" y="734"/>
                      </a:lnTo>
                      <a:lnTo>
                        <a:pt x="316" y="734"/>
                      </a:lnTo>
                      <a:lnTo>
                        <a:pt x="320" y="740"/>
                      </a:lnTo>
                      <a:lnTo>
                        <a:pt x="326" y="744"/>
                      </a:lnTo>
                      <a:lnTo>
                        <a:pt x="344" y="752"/>
                      </a:lnTo>
                      <a:lnTo>
                        <a:pt x="364" y="760"/>
                      </a:lnTo>
                      <a:lnTo>
                        <a:pt x="414" y="768"/>
                      </a:lnTo>
                      <a:lnTo>
                        <a:pt x="468" y="768"/>
                      </a:lnTo>
                      <a:lnTo>
                        <a:pt x="516" y="768"/>
                      </a:lnTo>
                      <a:lnTo>
                        <a:pt x="584" y="772"/>
                      </a:lnTo>
                      <a:lnTo>
                        <a:pt x="626" y="778"/>
                      </a:lnTo>
                      <a:lnTo>
                        <a:pt x="628" y="780"/>
                      </a:lnTo>
                      <a:lnTo>
                        <a:pt x="628" y="780"/>
                      </a:lnTo>
                      <a:lnTo>
                        <a:pt x="596" y="796"/>
                      </a:lnTo>
                      <a:lnTo>
                        <a:pt x="568" y="814"/>
                      </a:lnTo>
                      <a:lnTo>
                        <a:pt x="542" y="832"/>
                      </a:lnTo>
                      <a:lnTo>
                        <a:pt x="518" y="850"/>
                      </a:lnTo>
                      <a:lnTo>
                        <a:pt x="518" y="850"/>
                      </a:lnTo>
                      <a:lnTo>
                        <a:pt x="472" y="890"/>
                      </a:lnTo>
                      <a:lnTo>
                        <a:pt x="442" y="918"/>
                      </a:lnTo>
                      <a:lnTo>
                        <a:pt x="422" y="938"/>
                      </a:lnTo>
                      <a:lnTo>
                        <a:pt x="414" y="952"/>
                      </a:lnTo>
                      <a:lnTo>
                        <a:pt x="412" y="958"/>
                      </a:lnTo>
                      <a:lnTo>
                        <a:pt x="416" y="962"/>
                      </a:lnTo>
                      <a:lnTo>
                        <a:pt x="418" y="962"/>
                      </a:lnTo>
                      <a:lnTo>
                        <a:pt x="420" y="962"/>
                      </a:lnTo>
                      <a:lnTo>
                        <a:pt x="430" y="996"/>
                      </a:lnTo>
                      <a:lnTo>
                        <a:pt x="430" y="996"/>
                      </a:lnTo>
                      <a:lnTo>
                        <a:pt x="438" y="1020"/>
                      </a:lnTo>
                      <a:lnTo>
                        <a:pt x="446" y="1044"/>
                      </a:lnTo>
                      <a:lnTo>
                        <a:pt x="458" y="1074"/>
                      </a:lnTo>
                      <a:lnTo>
                        <a:pt x="474" y="1102"/>
                      </a:lnTo>
                      <a:lnTo>
                        <a:pt x="490" y="1130"/>
                      </a:lnTo>
                      <a:lnTo>
                        <a:pt x="500" y="1142"/>
                      </a:lnTo>
                      <a:lnTo>
                        <a:pt x="510" y="1152"/>
                      </a:lnTo>
                      <a:lnTo>
                        <a:pt x="520" y="1160"/>
                      </a:lnTo>
                      <a:lnTo>
                        <a:pt x="530" y="1166"/>
                      </a:lnTo>
                      <a:lnTo>
                        <a:pt x="530" y="1166"/>
                      </a:lnTo>
                      <a:lnTo>
                        <a:pt x="548" y="1174"/>
                      </a:lnTo>
                      <a:lnTo>
                        <a:pt x="560" y="1184"/>
                      </a:lnTo>
                      <a:lnTo>
                        <a:pt x="568" y="1194"/>
                      </a:lnTo>
                      <a:lnTo>
                        <a:pt x="572" y="1204"/>
                      </a:lnTo>
                      <a:lnTo>
                        <a:pt x="574" y="1214"/>
                      </a:lnTo>
                      <a:lnTo>
                        <a:pt x="574" y="1222"/>
                      </a:lnTo>
                      <a:lnTo>
                        <a:pt x="574" y="1228"/>
                      </a:lnTo>
                      <a:lnTo>
                        <a:pt x="574" y="1228"/>
                      </a:lnTo>
                      <a:lnTo>
                        <a:pt x="578" y="1236"/>
                      </a:lnTo>
                      <a:lnTo>
                        <a:pt x="588" y="1256"/>
                      </a:lnTo>
                      <a:lnTo>
                        <a:pt x="596" y="1268"/>
                      </a:lnTo>
                      <a:lnTo>
                        <a:pt x="604" y="1278"/>
                      </a:lnTo>
                      <a:lnTo>
                        <a:pt x="616" y="1284"/>
                      </a:lnTo>
                      <a:lnTo>
                        <a:pt x="626" y="1288"/>
                      </a:lnTo>
                      <a:lnTo>
                        <a:pt x="626" y="1288"/>
                      </a:lnTo>
                      <a:lnTo>
                        <a:pt x="632" y="1290"/>
                      </a:lnTo>
                      <a:lnTo>
                        <a:pt x="638" y="1294"/>
                      </a:lnTo>
                      <a:lnTo>
                        <a:pt x="642" y="1300"/>
                      </a:lnTo>
                      <a:lnTo>
                        <a:pt x="646" y="1306"/>
                      </a:lnTo>
                      <a:lnTo>
                        <a:pt x="652" y="1322"/>
                      </a:lnTo>
                      <a:lnTo>
                        <a:pt x="656" y="1340"/>
                      </a:lnTo>
                      <a:lnTo>
                        <a:pt x="660" y="1374"/>
                      </a:lnTo>
                      <a:lnTo>
                        <a:pt x="662" y="1388"/>
                      </a:lnTo>
                      <a:lnTo>
                        <a:pt x="662" y="1388"/>
                      </a:lnTo>
                      <a:lnTo>
                        <a:pt x="662" y="1404"/>
                      </a:lnTo>
                      <a:lnTo>
                        <a:pt x="660" y="1420"/>
                      </a:lnTo>
                      <a:lnTo>
                        <a:pt x="656" y="1442"/>
                      </a:lnTo>
                      <a:lnTo>
                        <a:pt x="650" y="1464"/>
                      </a:lnTo>
                      <a:lnTo>
                        <a:pt x="642" y="1486"/>
                      </a:lnTo>
                      <a:lnTo>
                        <a:pt x="636" y="1498"/>
                      </a:lnTo>
                      <a:lnTo>
                        <a:pt x="630" y="1508"/>
                      </a:lnTo>
                      <a:lnTo>
                        <a:pt x="622" y="1518"/>
                      </a:lnTo>
                      <a:lnTo>
                        <a:pt x="612" y="1528"/>
                      </a:lnTo>
                      <a:lnTo>
                        <a:pt x="612" y="1528"/>
                      </a:lnTo>
                      <a:lnTo>
                        <a:pt x="596" y="1544"/>
                      </a:lnTo>
                      <a:lnTo>
                        <a:pt x="582" y="1558"/>
                      </a:lnTo>
                      <a:lnTo>
                        <a:pt x="562" y="1580"/>
                      </a:lnTo>
                      <a:lnTo>
                        <a:pt x="550" y="1596"/>
                      </a:lnTo>
                      <a:lnTo>
                        <a:pt x="548" y="1602"/>
                      </a:lnTo>
                      <a:lnTo>
                        <a:pt x="548" y="1602"/>
                      </a:lnTo>
                      <a:lnTo>
                        <a:pt x="538" y="1616"/>
                      </a:lnTo>
                      <a:lnTo>
                        <a:pt x="530" y="1632"/>
                      </a:lnTo>
                      <a:lnTo>
                        <a:pt x="522" y="1652"/>
                      </a:lnTo>
                      <a:lnTo>
                        <a:pt x="522" y="1652"/>
                      </a:lnTo>
                      <a:lnTo>
                        <a:pt x="518" y="1676"/>
                      </a:lnTo>
                      <a:lnTo>
                        <a:pt x="516" y="1698"/>
                      </a:lnTo>
                      <a:lnTo>
                        <a:pt x="518" y="1716"/>
                      </a:lnTo>
                      <a:lnTo>
                        <a:pt x="520" y="1724"/>
                      </a:lnTo>
                      <a:lnTo>
                        <a:pt x="522" y="1732"/>
                      </a:lnTo>
                      <a:lnTo>
                        <a:pt x="522" y="1732"/>
                      </a:lnTo>
                      <a:lnTo>
                        <a:pt x="526" y="1736"/>
                      </a:lnTo>
                      <a:lnTo>
                        <a:pt x="532" y="1738"/>
                      </a:lnTo>
                      <a:lnTo>
                        <a:pt x="538" y="1738"/>
                      </a:lnTo>
                      <a:lnTo>
                        <a:pt x="544" y="1738"/>
                      </a:lnTo>
                      <a:lnTo>
                        <a:pt x="554" y="1734"/>
                      </a:lnTo>
                      <a:lnTo>
                        <a:pt x="558" y="1732"/>
                      </a:lnTo>
                      <a:lnTo>
                        <a:pt x="640" y="1640"/>
                      </a:lnTo>
                      <a:lnTo>
                        <a:pt x="636" y="1610"/>
                      </a:lnTo>
                      <a:lnTo>
                        <a:pt x="636" y="1610"/>
                      </a:lnTo>
                      <a:lnTo>
                        <a:pt x="648" y="1598"/>
                      </a:lnTo>
                      <a:lnTo>
                        <a:pt x="658" y="1590"/>
                      </a:lnTo>
                      <a:lnTo>
                        <a:pt x="664" y="1588"/>
                      </a:lnTo>
                      <a:lnTo>
                        <a:pt x="670" y="1586"/>
                      </a:lnTo>
                      <a:lnTo>
                        <a:pt x="670" y="1586"/>
                      </a:lnTo>
                      <a:lnTo>
                        <a:pt x="678" y="1582"/>
                      </a:lnTo>
                      <a:lnTo>
                        <a:pt x="684" y="1578"/>
                      </a:lnTo>
                      <a:lnTo>
                        <a:pt x="698" y="1562"/>
                      </a:lnTo>
                      <a:lnTo>
                        <a:pt x="712" y="1538"/>
                      </a:lnTo>
                      <a:lnTo>
                        <a:pt x="712" y="1538"/>
                      </a:lnTo>
                      <a:lnTo>
                        <a:pt x="732" y="1520"/>
                      </a:lnTo>
                      <a:lnTo>
                        <a:pt x="752" y="1500"/>
                      </a:lnTo>
                      <a:lnTo>
                        <a:pt x="770" y="1476"/>
                      </a:lnTo>
                      <a:lnTo>
                        <a:pt x="770" y="1476"/>
                      </a:lnTo>
                      <a:lnTo>
                        <a:pt x="790" y="1446"/>
                      </a:lnTo>
                      <a:lnTo>
                        <a:pt x="812" y="1410"/>
                      </a:lnTo>
                      <a:lnTo>
                        <a:pt x="830" y="1374"/>
                      </a:lnTo>
                      <a:lnTo>
                        <a:pt x="836" y="1356"/>
                      </a:lnTo>
                      <a:lnTo>
                        <a:pt x="840" y="1342"/>
                      </a:lnTo>
                      <a:lnTo>
                        <a:pt x="840" y="1342"/>
                      </a:lnTo>
                      <a:lnTo>
                        <a:pt x="854" y="1266"/>
                      </a:lnTo>
                      <a:lnTo>
                        <a:pt x="878" y="1136"/>
                      </a:lnTo>
                      <a:lnTo>
                        <a:pt x="890" y="1070"/>
                      </a:lnTo>
                      <a:lnTo>
                        <a:pt x="904" y="1014"/>
                      </a:lnTo>
                      <a:lnTo>
                        <a:pt x="910" y="992"/>
                      </a:lnTo>
                      <a:lnTo>
                        <a:pt x="916" y="974"/>
                      </a:lnTo>
                      <a:lnTo>
                        <a:pt x="922" y="964"/>
                      </a:lnTo>
                      <a:lnTo>
                        <a:pt x="924" y="960"/>
                      </a:lnTo>
                      <a:lnTo>
                        <a:pt x="926" y="960"/>
                      </a:lnTo>
                      <a:lnTo>
                        <a:pt x="926" y="960"/>
                      </a:lnTo>
                      <a:lnTo>
                        <a:pt x="932" y="958"/>
                      </a:lnTo>
                      <a:lnTo>
                        <a:pt x="938" y="954"/>
                      </a:lnTo>
                      <a:lnTo>
                        <a:pt x="950" y="942"/>
                      </a:lnTo>
                      <a:lnTo>
                        <a:pt x="964" y="926"/>
                      </a:lnTo>
                      <a:lnTo>
                        <a:pt x="976" y="908"/>
                      </a:lnTo>
                      <a:lnTo>
                        <a:pt x="968" y="972"/>
                      </a:lnTo>
                      <a:lnTo>
                        <a:pt x="972" y="994"/>
                      </a:lnTo>
                      <a:lnTo>
                        <a:pt x="962" y="1022"/>
                      </a:lnTo>
                      <a:lnTo>
                        <a:pt x="962" y="1068"/>
                      </a:lnTo>
                      <a:lnTo>
                        <a:pt x="962" y="1080"/>
                      </a:lnTo>
                      <a:lnTo>
                        <a:pt x="962" y="1146"/>
                      </a:lnTo>
                      <a:lnTo>
                        <a:pt x="972" y="1150"/>
                      </a:lnTo>
                      <a:lnTo>
                        <a:pt x="972" y="1160"/>
                      </a:lnTo>
                      <a:lnTo>
                        <a:pt x="962" y="1170"/>
                      </a:lnTo>
                      <a:lnTo>
                        <a:pt x="964" y="1202"/>
                      </a:lnTo>
                      <a:lnTo>
                        <a:pt x="964" y="1252"/>
                      </a:lnTo>
                      <a:lnTo>
                        <a:pt x="984" y="1294"/>
                      </a:lnTo>
                      <a:lnTo>
                        <a:pt x="1016" y="1320"/>
                      </a:lnTo>
                      <a:lnTo>
                        <a:pt x="1018" y="1292"/>
                      </a:lnTo>
                      <a:lnTo>
                        <a:pt x="1022" y="1320"/>
                      </a:lnTo>
                      <a:lnTo>
                        <a:pt x="1054" y="1294"/>
                      </a:lnTo>
                      <a:lnTo>
                        <a:pt x="1074" y="1252"/>
                      </a:lnTo>
                      <a:lnTo>
                        <a:pt x="1074" y="1202"/>
                      </a:lnTo>
                      <a:lnTo>
                        <a:pt x="1076" y="1170"/>
                      </a:lnTo>
                      <a:lnTo>
                        <a:pt x="1066" y="1160"/>
                      </a:lnTo>
                      <a:lnTo>
                        <a:pt x="1066" y="1150"/>
                      </a:lnTo>
                      <a:lnTo>
                        <a:pt x="1076" y="1146"/>
                      </a:lnTo>
                      <a:lnTo>
                        <a:pt x="1076" y="1080"/>
                      </a:lnTo>
                      <a:lnTo>
                        <a:pt x="1076" y="1068"/>
                      </a:lnTo>
                      <a:lnTo>
                        <a:pt x="1076" y="1022"/>
                      </a:lnTo>
                      <a:lnTo>
                        <a:pt x="1066" y="994"/>
                      </a:lnTo>
                      <a:lnTo>
                        <a:pt x="1068" y="972"/>
                      </a:lnTo>
                      <a:lnTo>
                        <a:pt x="1062" y="908"/>
                      </a:lnTo>
                      <a:lnTo>
                        <a:pt x="1062" y="908"/>
                      </a:lnTo>
                      <a:lnTo>
                        <a:pt x="1074" y="926"/>
                      </a:lnTo>
                      <a:lnTo>
                        <a:pt x="1088" y="942"/>
                      </a:lnTo>
                      <a:lnTo>
                        <a:pt x="1100" y="954"/>
                      </a:lnTo>
                      <a:lnTo>
                        <a:pt x="1106" y="958"/>
                      </a:lnTo>
                      <a:lnTo>
                        <a:pt x="1112" y="960"/>
                      </a:lnTo>
                      <a:lnTo>
                        <a:pt x="1112" y="960"/>
                      </a:lnTo>
                      <a:lnTo>
                        <a:pt x="1114" y="960"/>
                      </a:lnTo>
                      <a:lnTo>
                        <a:pt x="1116" y="964"/>
                      </a:lnTo>
                      <a:lnTo>
                        <a:pt x="1122" y="974"/>
                      </a:lnTo>
                      <a:lnTo>
                        <a:pt x="1128" y="992"/>
                      </a:lnTo>
                      <a:lnTo>
                        <a:pt x="1134" y="1014"/>
                      </a:lnTo>
                      <a:lnTo>
                        <a:pt x="1148" y="1070"/>
                      </a:lnTo>
                      <a:lnTo>
                        <a:pt x="1160" y="1136"/>
                      </a:lnTo>
                      <a:lnTo>
                        <a:pt x="1184" y="1266"/>
                      </a:lnTo>
                      <a:lnTo>
                        <a:pt x="1198" y="1342"/>
                      </a:lnTo>
                      <a:lnTo>
                        <a:pt x="1198" y="1342"/>
                      </a:lnTo>
                      <a:lnTo>
                        <a:pt x="1202" y="1356"/>
                      </a:lnTo>
                      <a:lnTo>
                        <a:pt x="1208" y="1374"/>
                      </a:lnTo>
                      <a:lnTo>
                        <a:pt x="1226" y="1410"/>
                      </a:lnTo>
                      <a:lnTo>
                        <a:pt x="1248" y="1446"/>
                      </a:lnTo>
                      <a:lnTo>
                        <a:pt x="1268" y="1476"/>
                      </a:lnTo>
                      <a:lnTo>
                        <a:pt x="1268" y="1476"/>
                      </a:lnTo>
                      <a:lnTo>
                        <a:pt x="1286" y="1500"/>
                      </a:lnTo>
                      <a:lnTo>
                        <a:pt x="1304" y="1520"/>
                      </a:lnTo>
                      <a:lnTo>
                        <a:pt x="1326" y="1538"/>
                      </a:lnTo>
                      <a:lnTo>
                        <a:pt x="1326" y="1538"/>
                      </a:lnTo>
                      <a:lnTo>
                        <a:pt x="1340" y="1562"/>
                      </a:lnTo>
                      <a:lnTo>
                        <a:pt x="1354" y="1578"/>
                      </a:lnTo>
                      <a:lnTo>
                        <a:pt x="1360" y="1582"/>
                      </a:lnTo>
                      <a:lnTo>
                        <a:pt x="1366" y="1586"/>
                      </a:lnTo>
                      <a:lnTo>
                        <a:pt x="1366" y="1586"/>
                      </a:lnTo>
                      <a:lnTo>
                        <a:pt x="1374" y="1588"/>
                      </a:lnTo>
                      <a:lnTo>
                        <a:pt x="1380" y="1590"/>
                      </a:lnTo>
                      <a:lnTo>
                        <a:pt x="1390" y="1598"/>
                      </a:lnTo>
                      <a:lnTo>
                        <a:pt x="1402" y="1610"/>
                      </a:lnTo>
                      <a:lnTo>
                        <a:pt x="1398" y="1640"/>
                      </a:lnTo>
                      <a:lnTo>
                        <a:pt x="1480" y="1732"/>
                      </a:lnTo>
                      <a:lnTo>
                        <a:pt x="1480" y="1732"/>
                      </a:lnTo>
                      <a:lnTo>
                        <a:pt x="1484" y="1734"/>
                      </a:lnTo>
                      <a:lnTo>
                        <a:pt x="1494" y="1738"/>
                      </a:lnTo>
                      <a:lnTo>
                        <a:pt x="1500" y="1738"/>
                      </a:lnTo>
                      <a:lnTo>
                        <a:pt x="1506" y="1738"/>
                      </a:lnTo>
                      <a:lnTo>
                        <a:pt x="1512" y="1736"/>
                      </a:lnTo>
                      <a:lnTo>
                        <a:pt x="1516" y="1732"/>
                      </a:lnTo>
                      <a:lnTo>
                        <a:pt x="1516" y="1732"/>
                      </a:lnTo>
                      <a:lnTo>
                        <a:pt x="1518" y="1724"/>
                      </a:lnTo>
                      <a:lnTo>
                        <a:pt x="1520" y="1716"/>
                      </a:lnTo>
                      <a:lnTo>
                        <a:pt x="1522" y="1698"/>
                      </a:lnTo>
                      <a:lnTo>
                        <a:pt x="1520" y="1676"/>
                      </a:lnTo>
                      <a:lnTo>
                        <a:pt x="1516" y="1652"/>
                      </a:lnTo>
                      <a:lnTo>
                        <a:pt x="1516" y="1652"/>
                      </a:lnTo>
                      <a:lnTo>
                        <a:pt x="1508" y="1632"/>
                      </a:lnTo>
                      <a:lnTo>
                        <a:pt x="1500" y="1616"/>
                      </a:lnTo>
                      <a:lnTo>
                        <a:pt x="1490" y="1602"/>
                      </a:lnTo>
                      <a:lnTo>
                        <a:pt x="1490" y="1602"/>
                      </a:lnTo>
                      <a:lnTo>
                        <a:pt x="1486" y="1596"/>
                      </a:lnTo>
                      <a:lnTo>
                        <a:pt x="1476" y="1580"/>
                      </a:lnTo>
                      <a:lnTo>
                        <a:pt x="1456" y="1558"/>
                      </a:lnTo>
                      <a:lnTo>
                        <a:pt x="1442" y="1544"/>
                      </a:lnTo>
                      <a:lnTo>
                        <a:pt x="1424" y="1528"/>
                      </a:lnTo>
                      <a:lnTo>
                        <a:pt x="1424" y="1528"/>
                      </a:lnTo>
                      <a:lnTo>
                        <a:pt x="1416" y="1518"/>
                      </a:lnTo>
                      <a:lnTo>
                        <a:pt x="1408" y="1508"/>
                      </a:lnTo>
                      <a:lnTo>
                        <a:pt x="1402" y="1498"/>
                      </a:lnTo>
                      <a:lnTo>
                        <a:pt x="1396" y="1486"/>
                      </a:lnTo>
                      <a:lnTo>
                        <a:pt x="1386" y="1464"/>
                      </a:lnTo>
                      <a:lnTo>
                        <a:pt x="1382" y="1442"/>
                      </a:lnTo>
                      <a:lnTo>
                        <a:pt x="1378" y="1420"/>
                      </a:lnTo>
                      <a:lnTo>
                        <a:pt x="1376" y="1404"/>
                      </a:lnTo>
                      <a:lnTo>
                        <a:pt x="1376" y="1388"/>
                      </a:lnTo>
                      <a:lnTo>
                        <a:pt x="1376" y="1388"/>
                      </a:lnTo>
                      <a:lnTo>
                        <a:pt x="1378" y="1374"/>
                      </a:lnTo>
                      <a:lnTo>
                        <a:pt x="1382" y="1340"/>
                      </a:lnTo>
                      <a:lnTo>
                        <a:pt x="1386" y="1322"/>
                      </a:lnTo>
                      <a:lnTo>
                        <a:pt x="1392" y="1306"/>
                      </a:lnTo>
                      <a:lnTo>
                        <a:pt x="1396" y="1300"/>
                      </a:lnTo>
                      <a:lnTo>
                        <a:pt x="1400" y="1294"/>
                      </a:lnTo>
                      <a:lnTo>
                        <a:pt x="1406" y="1290"/>
                      </a:lnTo>
                      <a:lnTo>
                        <a:pt x="1410" y="1288"/>
                      </a:lnTo>
                      <a:lnTo>
                        <a:pt x="1410" y="1288"/>
                      </a:lnTo>
                      <a:lnTo>
                        <a:pt x="1422" y="1284"/>
                      </a:lnTo>
                      <a:lnTo>
                        <a:pt x="1432" y="1278"/>
                      </a:lnTo>
                      <a:lnTo>
                        <a:pt x="1442" y="1268"/>
                      </a:lnTo>
                      <a:lnTo>
                        <a:pt x="1450" y="1256"/>
                      </a:lnTo>
                      <a:lnTo>
                        <a:pt x="1460" y="1236"/>
                      </a:lnTo>
                      <a:lnTo>
                        <a:pt x="1464" y="1228"/>
                      </a:lnTo>
                      <a:lnTo>
                        <a:pt x="1464" y="1228"/>
                      </a:lnTo>
                      <a:lnTo>
                        <a:pt x="1464" y="1222"/>
                      </a:lnTo>
                      <a:lnTo>
                        <a:pt x="1464" y="1214"/>
                      </a:lnTo>
                      <a:lnTo>
                        <a:pt x="1466" y="1204"/>
                      </a:lnTo>
                      <a:lnTo>
                        <a:pt x="1470" y="1194"/>
                      </a:lnTo>
                      <a:lnTo>
                        <a:pt x="1478" y="1184"/>
                      </a:lnTo>
                      <a:lnTo>
                        <a:pt x="1490" y="1174"/>
                      </a:lnTo>
                      <a:lnTo>
                        <a:pt x="1508" y="1166"/>
                      </a:lnTo>
                      <a:lnTo>
                        <a:pt x="1508" y="1166"/>
                      </a:lnTo>
                      <a:lnTo>
                        <a:pt x="1518" y="1160"/>
                      </a:lnTo>
                      <a:lnTo>
                        <a:pt x="1528" y="1152"/>
                      </a:lnTo>
                      <a:lnTo>
                        <a:pt x="1538" y="1142"/>
                      </a:lnTo>
                      <a:lnTo>
                        <a:pt x="1548" y="1130"/>
                      </a:lnTo>
                      <a:lnTo>
                        <a:pt x="1564" y="1102"/>
                      </a:lnTo>
                      <a:lnTo>
                        <a:pt x="1580" y="1074"/>
                      </a:lnTo>
                      <a:lnTo>
                        <a:pt x="1592" y="1044"/>
                      </a:lnTo>
                      <a:lnTo>
                        <a:pt x="1600" y="1020"/>
                      </a:lnTo>
                      <a:lnTo>
                        <a:pt x="1608" y="996"/>
                      </a:lnTo>
                      <a:lnTo>
                        <a:pt x="1618" y="962"/>
                      </a:lnTo>
                      <a:lnTo>
                        <a:pt x="1618" y="962"/>
                      </a:lnTo>
                      <a:lnTo>
                        <a:pt x="1620" y="962"/>
                      </a:lnTo>
                      <a:lnTo>
                        <a:pt x="1622" y="962"/>
                      </a:lnTo>
                      <a:lnTo>
                        <a:pt x="1626" y="958"/>
                      </a:lnTo>
                      <a:lnTo>
                        <a:pt x="1624" y="952"/>
                      </a:lnTo>
                      <a:lnTo>
                        <a:pt x="1614" y="938"/>
                      </a:lnTo>
                      <a:lnTo>
                        <a:pt x="1596" y="918"/>
                      </a:lnTo>
                      <a:lnTo>
                        <a:pt x="1566" y="890"/>
                      </a:lnTo>
                      <a:lnTo>
                        <a:pt x="1520" y="850"/>
                      </a:lnTo>
                      <a:lnTo>
                        <a:pt x="1520" y="850"/>
                      </a:lnTo>
                      <a:lnTo>
                        <a:pt x="1496" y="832"/>
                      </a:lnTo>
                      <a:lnTo>
                        <a:pt x="1470" y="814"/>
                      </a:lnTo>
                      <a:lnTo>
                        <a:pt x="1440" y="796"/>
                      </a:lnTo>
                      <a:lnTo>
                        <a:pt x="1410" y="780"/>
                      </a:lnTo>
                      <a:lnTo>
                        <a:pt x="1412" y="778"/>
                      </a:lnTo>
                      <a:lnTo>
                        <a:pt x="1454" y="772"/>
                      </a:lnTo>
                      <a:lnTo>
                        <a:pt x="1522" y="768"/>
                      </a:lnTo>
                      <a:lnTo>
                        <a:pt x="1570" y="768"/>
                      </a:lnTo>
                      <a:lnTo>
                        <a:pt x="1624" y="768"/>
                      </a:lnTo>
                      <a:lnTo>
                        <a:pt x="1674" y="760"/>
                      </a:lnTo>
                      <a:lnTo>
                        <a:pt x="1674" y="760"/>
                      </a:lnTo>
                      <a:lnTo>
                        <a:pt x="1694" y="752"/>
                      </a:lnTo>
                      <a:lnTo>
                        <a:pt x="1710" y="744"/>
                      </a:lnTo>
                      <a:lnTo>
                        <a:pt x="1718" y="740"/>
                      </a:lnTo>
                      <a:lnTo>
                        <a:pt x="1722" y="734"/>
                      </a:lnTo>
                      <a:lnTo>
                        <a:pt x="1722" y="734"/>
                      </a:lnTo>
                      <a:lnTo>
                        <a:pt x="1734" y="712"/>
                      </a:lnTo>
                      <a:lnTo>
                        <a:pt x="1744" y="698"/>
                      </a:lnTo>
                      <a:lnTo>
                        <a:pt x="1760" y="678"/>
                      </a:lnTo>
                      <a:lnTo>
                        <a:pt x="1760" y="678"/>
                      </a:lnTo>
                      <a:lnTo>
                        <a:pt x="1774" y="656"/>
                      </a:lnTo>
                      <a:lnTo>
                        <a:pt x="1782" y="642"/>
                      </a:lnTo>
                      <a:lnTo>
                        <a:pt x="1786" y="632"/>
                      </a:lnTo>
                      <a:lnTo>
                        <a:pt x="1788" y="628"/>
                      </a:lnTo>
                      <a:lnTo>
                        <a:pt x="1788" y="628"/>
                      </a:lnTo>
                      <a:lnTo>
                        <a:pt x="1792" y="612"/>
                      </a:lnTo>
                      <a:lnTo>
                        <a:pt x="1796" y="598"/>
                      </a:lnTo>
                      <a:lnTo>
                        <a:pt x="1798" y="594"/>
                      </a:lnTo>
                      <a:lnTo>
                        <a:pt x="1802" y="590"/>
                      </a:lnTo>
                      <a:lnTo>
                        <a:pt x="1802" y="590"/>
                      </a:lnTo>
                      <a:lnTo>
                        <a:pt x="1806" y="586"/>
                      </a:lnTo>
                      <a:lnTo>
                        <a:pt x="1810" y="580"/>
                      </a:lnTo>
                      <a:lnTo>
                        <a:pt x="1820" y="562"/>
                      </a:lnTo>
                      <a:lnTo>
                        <a:pt x="1824" y="552"/>
                      </a:lnTo>
                      <a:lnTo>
                        <a:pt x="1826" y="542"/>
                      </a:lnTo>
                      <a:lnTo>
                        <a:pt x="1826" y="532"/>
                      </a:lnTo>
                      <a:lnTo>
                        <a:pt x="1822" y="526"/>
                      </a:lnTo>
                      <a:lnTo>
                        <a:pt x="1822" y="526"/>
                      </a:lnTo>
                      <a:lnTo>
                        <a:pt x="1820" y="518"/>
                      </a:lnTo>
                      <a:lnTo>
                        <a:pt x="1820" y="512"/>
                      </a:lnTo>
                      <a:lnTo>
                        <a:pt x="1820" y="506"/>
                      </a:lnTo>
                      <a:lnTo>
                        <a:pt x="1824" y="498"/>
                      </a:lnTo>
                      <a:lnTo>
                        <a:pt x="1828" y="488"/>
                      </a:lnTo>
                      <a:lnTo>
                        <a:pt x="1832" y="484"/>
                      </a:lnTo>
                      <a:lnTo>
                        <a:pt x="1832" y="484"/>
                      </a:lnTo>
                      <a:lnTo>
                        <a:pt x="1842" y="474"/>
                      </a:lnTo>
                      <a:lnTo>
                        <a:pt x="1850" y="466"/>
                      </a:lnTo>
                      <a:lnTo>
                        <a:pt x="1850" y="462"/>
                      </a:lnTo>
                      <a:lnTo>
                        <a:pt x="1848" y="458"/>
                      </a:lnTo>
                      <a:lnTo>
                        <a:pt x="1848" y="458"/>
                      </a:lnTo>
                      <a:lnTo>
                        <a:pt x="1846" y="452"/>
                      </a:lnTo>
                      <a:lnTo>
                        <a:pt x="1846" y="446"/>
                      </a:lnTo>
                      <a:lnTo>
                        <a:pt x="1848" y="428"/>
                      </a:lnTo>
                      <a:lnTo>
                        <a:pt x="1852" y="404"/>
                      </a:lnTo>
                      <a:lnTo>
                        <a:pt x="1852" y="404"/>
                      </a:lnTo>
                      <a:lnTo>
                        <a:pt x="1868" y="384"/>
                      </a:lnTo>
                      <a:lnTo>
                        <a:pt x="1880" y="370"/>
                      </a:lnTo>
                      <a:lnTo>
                        <a:pt x="1882" y="364"/>
                      </a:lnTo>
                      <a:lnTo>
                        <a:pt x="1884" y="358"/>
                      </a:lnTo>
                      <a:lnTo>
                        <a:pt x="1884" y="358"/>
                      </a:lnTo>
                      <a:lnTo>
                        <a:pt x="1888" y="348"/>
                      </a:lnTo>
                      <a:lnTo>
                        <a:pt x="1896" y="332"/>
                      </a:lnTo>
                      <a:lnTo>
                        <a:pt x="1910" y="318"/>
                      </a:lnTo>
                      <a:lnTo>
                        <a:pt x="1916" y="312"/>
                      </a:lnTo>
                      <a:lnTo>
                        <a:pt x="1924" y="308"/>
                      </a:lnTo>
                      <a:lnTo>
                        <a:pt x="1924" y="308"/>
                      </a:lnTo>
                      <a:lnTo>
                        <a:pt x="1930" y="302"/>
                      </a:lnTo>
                      <a:lnTo>
                        <a:pt x="1936" y="298"/>
                      </a:lnTo>
                      <a:lnTo>
                        <a:pt x="1946" y="286"/>
                      </a:lnTo>
                      <a:lnTo>
                        <a:pt x="1956" y="272"/>
                      </a:lnTo>
                      <a:lnTo>
                        <a:pt x="1956" y="272"/>
                      </a:lnTo>
                      <a:lnTo>
                        <a:pt x="1960" y="258"/>
                      </a:lnTo>
                      <a:lnTo>
                        <a:pt x="1966" y="246"/>
                      </a:lnTo>
                      <a:lnTo>
                        <a:pt x="1970" y="242"/>
                      </a:lnTo>
                      <a:lnTo>
                        <a:pt x="1974" y="240"/>
                      </a:lnTo>
                      <a:lnTo>
                        <a:pt x="1974" y="240"/>
                      </a:lnTo>
                      <a:lnTo>
                        <a:pt x="1980" y="236"/>
                      </a:lnTo>
                      <a:lnTo>
                        <a:pt x="1984" y="232"/>
                      </a:lnTo>
                      <a:lnTo>
                        <a:pt x="1994" y="218"/>
                      </a:lnTo>
                      <a:lnTo>
                        <a:pt x="2006" y="202"/>
                      </a:lnTo>
                      <a:lnTo>
                        <a:pt x="2028" y="156"/>
                      </a:lnTo>
                      <a:lnTo>
                        <a:pt x="2038" y="114"/>
                      </a:lnTo>
                      <a:lnTo>
                        <a:pt x="2036" y="78"/>
                      </a:lnTo>
                      <a:close/>
                      <a:moveTo>
                        <a:pt x="1014" y="582"/>
                      </a:moveTo>
                      <a:lnTo>
                        <a:pt x="1014" y="584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21000"/>
                  </a:schemeClr>
                </a:solidFill>
                <a:ln w="9525">
                  <a:noFill/>
                  <a:round/>
                  <a:headEnd/>
                  <a:tailEnd/>
                </a:ln>
                <a:effectLst>
                  <a:glow rad="50800">
                    <a:schemeClr val="bg2">
                      <a:lumMod val="60000"/>
                      <a:lumOff val="40000"/>
                      <a:alpha val="33000"/>
                    </a:schemeClr>
                  </a:glow>
                  <a:softEdge rad="127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6" name="Freeform 89"/>
                <p:cNvSpPr>
                  <a:spLocks noEditPoints="1"/>
                </p:cNvSpPr>
                <p:nvPr/>
              </p:nvSpPr>
              <p:spPr bwMode="auto">
                <a:xfrm rot="2303669">
                  <a:off x="2048564" y="7997672"/>
                  <a:ext cx="3812097" cy="3250945"/>
                </a:xfrm>
                <a:custGeom>
                  <a:avLst/>
                  <a:gdLst/>
                  <a:ahLst/>
                  <a:cxnLst>
                    <a:cxn ang="0">
                      <a:pos x="1778" y="8"/>
                    </a:cxn>
                    <a:cxn ang="0">
                      <a:pos x="1424" y="184"/>
                    </a:cxn>
                    <a:cxn ang="0">
                      <a:pos x="1152" y="514"/>
                    </a:cxn>
                    <a:cxn ang="0">
                      <a:pos x="1064" y="610"/>
                    </a:cxn>
                    <a:cxn ang="0">
                      <a:pos x="1042" y="574"/>
                    </a:cxn>
                    <a:cxn ang="0">
                      <a:pos x="1014" y="574"/>
                    </a:cxn>
                    <a:cxn ang="0">
                      <a:pos x="982" y="586"/>
                    </a:cxn>
                    <a:cxn ang="0">
                      <a:pos x="964" y="644"/>
                    </a:cxn>
                    <a:cxn ang="0">
                      <a:pos x="774" y="350"/>
                    </a:cxn>
                    <a:cxn ang="0">
                      <a:pos x="432" y="66"/>
                    </a:cxn>
                    <a:cxn ang="0">
                      <a:pos x="60" y="14"/>
                    </a:cxn>
                    <a:cxn ang="0">
                      <a:pos x="58" y="236"/>
                    </a:cxn>
                    <a:cxn ang="0">
                      <a:pos x="100" y="298"/>
                    </a:cxn>
                    <a:cxn ang="0">
                      <a:pos x="154" y="358"/>
                    </a:cxn>
                    <a:cxn ang="0">
                      <a:pos x="190" y="458"/>
                    </a:cxn>
                    <a:cxn ang="0">
                      <a:pos x="216" y="506"/>
                    </a:cxn>
                    <a:cxn ang="0">
                      <a:pos x="228" y="580"/>
                    </a:cxn>
                    <a:cxn ang="0">
                      <a:pos x="252" y="632"/>
                    </a:cxn>
                    <a:cxn ang="0">
                      <a:pos x="320" y="740"/>
                    </a:cxn>
                    <a:cxn ang="0">
                      <a:pos x="628" y="780"/>
                    </a:cxn>
                    <a:cxn ang="0">
                      <a:pos x="422" y="938"/>
                    </a:cxn>
                    <a:cxn ang="0">
                      <a:pos x="446" y="1044"/>
                    </a:cxn>
                    <a:cxn ang="0">
                      <a:pos x="548" y="1174"/>
                    </a:cxn>
                    <a:cxn ang="0">
                      <a:pos x="588" y="1256"/>
                    </a:cxn>
                    <a:cxn ang="0">
                      <a:pos x="646" y="1306"/>
                    </a:cxn>
                    <a:cxn ang="0">
                      <a:pos x="650" y="1464"/>
                    </a:cxn>
                    <a:cxn ang="0">
                      <a:pos x="562" y="1580"/>
                    </a:cxn>
                    <a:cxn ang="0">
                      <a:pos x="516" y="1698"/>
                    </a:cxn>
                    <a:cxn ang="0">
                      <a:pos x="554" y="1734"/>
                    </a:cxn>
                    <a:cxn ang="0">
                      <a:pos x="670" y="1586"/>
                    </a:cxn>
                    <a:cxn ang="0">
                      <a:pos x="770" y="1476"/>
                    </a:cxn>
                    <a:cxn ang="0">
                      <a:pos x="890" y="1070"/>
                    </a:cxn>
                    <a:cxn ang="0">
                      <a:pos x="938" y="954"/>
                    </a:cxn>
                    <a:cxn ang="0">
                      <a:pos x="962" y="1146"/>
                    </a:cxn>
                    <a:cxn ang="0">
                      <a:pos x="1022" y="1320"/>
                    </a:cxn>
                    <a:cxn ang="0">
                      <a:pos x="1076" y="1068"/>
                    </a:cxn>
                    <a:cxn ang="0">
                      <a:pos x="1106" y="958"/>
                    </a:cxn>
                    <a:cxn ang="0">
                      <a:pos x="1160" y="1136"/>
                    </a:cxn>
                    <a:cxn ang="0">
                      <a:pos x="1268" y="1476"/>
                    </a:cxn>
                    <a:cxn ang="0">
                      <a:pos x="1366" y="1586"/>
                    </a:cxn>
                    <a:cxn ang="0">
                      <a:pos x="1494" y="1738"/>
                    </a:cxn>
                    <a:cxn ang="0">
                      <a:pos x="1520" y="1676"/>
                    </a:cxn>
                    <a:cxn ang="0">
                      <a:pos x="1456" y="1558"/>
                    </a:cxn>
                    <a:cxn ang="0">
                      <a:pos x="1382" y="1442"/>
                    </a:cxn>
                    <a:cxn ang="0">
                      <a:pos x="1396" y="1300"/>
                    </a:cxn>
                    <a:cxn ang="0">
                      <a:pos x="1460" y="1236"/>
                    </a:cxn>
                    <a:cxn ang="0">
                      <a:pos x="1508" y="1166"/>
                    </a:cxn>
                    <a:cxn ang="0">
                      <a:pos x="1600" y="1020"/>
                    </a:cxn>
                    <a:cxn ang="0">
                      <a:pos x="1596" y="918"/>
                    </a:cxn>
                    <a:cxn ang="0">
                      <a:pos x="1454" y="772"/>
                    </a:cxn>
                    <a:cxn ang="0">
                      <a:pos x="1722" y="734"/>
                    </a:cxn>
                    <a:cxn ang="0">
                      <a:pos x="1788" y="628"/>
                    </a:cxn>
                    <a:cxn ang="0">
                      <a:pos x="1820" y="562"/>
                    </a:cxn>
                    <a:cxn ang="0">
                      <a:pos x="1824" y="498"/>
                    </a:cxn>
                    <a:cxn ang="0">
                      <a:pos x="1846" y="452"/>
                    </a:cxn>
                    <a:cxn ang="0">
                      <a:pos x="1884" y="358"/>
                    </a:cxn>
                    <a:cxn ang="0">
                      <a:pos x="1946" y="286"/>
                    </a:cxn>
                    <a:cxn ang="0">
                      <a:pos x="1984" y="232"/>
                    </a:cxn>
                    <a:cxn ang="0">
                      <a:pos x="1014" y="582"/>
                    </a:cxn>
                  </a:cxnLst>
                  <a:rect l="0" t="0" r="r" b="b"/>
                  <a:pathLst>
                    <a:path w="2038" h="1738">
                      <a:moveTo>
                        <a:pt x="2036" y="78"/>
                      </a:moveTo>
                      <a:lnTo>
                        <a:pt x="2018" y="44"/>
                      </a:lnTo>
                      <a:lnTo>
                        <a:pt x="1978" y="14"/>
                      </a:lnTo>
                      <a:lnTo>
                        <a:pt x="1916" y="2"/>
                      </a:lnTo>
                      <a:lnTo>
                        <a:pt x="1850" y="0"/>
                      </a:lnTo>
                      <a:lnTo>
                        <a:pt x="1850" y="0"/>
                      </a:lnTo>
                      <a:lnTo>
                        <a:pt x="1832" y="0"/>
                      </a:lnTo>
                      <a:lnTo>
                        <a:pt x="1808" y="4"/>
                      </a:lnTo>
                      <a:lnTo>
                        <a:pt x="1778" y="8"/>
                      </a:lnTo>
                      <a:lnTo>
                        <a:pt x="1742" y="16"/>
                      </a:lnTo>
                      <a:lnTo>
                        <a:pt x="1702" y="28"/>
                      </a:lnTo>
                      <a:lnTo>
                        <a:pt x="1656" y="46"/>
                      </a:lnTo>
                      <a:lnTo>
                        <a:pt x="1606" y="66"/>
                      </a:lnTo>
                      <a:lnTo>
                        <a:pt x="1606" y="66"/>
                      </a:lnTo>
                      <a:lnTo>
                        <a:pt x="1558" y="92"/>
                      </a:lnTo>
                      <a:lnTo>
                        <a:pt x="1510" y="120"/>
                      </a:lnTo>
                      <a:lnTo>
                        <a:pt x="1466" y="152"/>
                      </a:lnTo>
                      <a:lnTo>
                        <a:pt x="1424" y="184"/>
                      </a:lnTo>
                      <a:lnTo>
                        <a:pt x="1382" y="222"/>
                      </a:lnTo>
                      <a:lnTo>
                        <a:pt x="1342" y="260"/>
                      </a:lnTo>
                      <a:lnTo>
                        <a:pt x="1302" y="304"/>
                      </a:lnTo>
                      <a:lnTo>
                        <a:pt x="1264" y="350"/>
                      </a:lnTo>
                      <a:lnTo>
                        <a:pt x="1264" y="350"/>
                      </a:lnTo>
                      <a:lnTo>
                        <a:pt x="1234" y="388"/>
                      </a:lnTo>
                      <a:lnTo>
                        <a:pt x="1204" y="430"/>
                      </a:lnTo>
                      <a:lnTo>
                        <a:pt x="1176" y="472"/>
                      </a:lnTo>
                      <a:lnTo>
                        <a:pt x="1152" y="514"/>
                      </a:lnTo>
                      <a:lnTo>
                        <a:pt x="1110" y="590"/>
                      </a:lnTo>
                      <a:lnTo>
                        <a:pt x="1080" y="646"/>
                      </a:lnTo>
                      <a:lnTo>
                        <a:pt x="1080" y="646"/>
                      </a:lnTo>
                      <a:lnTo>
                        <a:pt x="1074" y="644"/>
                      </a:lnTo>
                      <a:lnTo>
                        <a:pt x="1074" y="644"/>
                      </a:lnTo>
                      <a:lnTo>
                        <a:pt x="1068" y="632"/>
                      </a:lnTo>
                      <a:lnTo>
                        <a:pt x="1060" y="618"/>
                      </a:lnTo>
                      <a:lnTo>
                        <a:pt x="1060" y="618"/>
                      </a:lnTo>
                      <a:lnTo>
                        <a:pt x="1064" y="610"/>
                      </a:lnTo>
                      <a:lnTo>
                        <a:pt x="1066" y="602"/>
                      </a:lnTo>
                      <a:lnTo>
                        <a:pt x="1066" y="602"/>
                      </a:lnTo>
                      <a:lnTo>
                        <a:pt x="1064" y="592"/>
                      </a:lnTo>
                      <a:lnTo>
                        <a:pt x="1060" y="586"/>
                      </a:lnTo>
                      <a:lnTo>
                        <a:pt x="1052" y="580"/>
                      </a:lnTo>
                      <a:lnTo>
                        <a:pt x="1042" y="578"/>
                      </a:lnTo>
                      <a:lnTo>
                        <a:pt x="1042" y="578"/>
                      </a:lnTo>
                      <a:lnTo>
                        <a:pt x="1040" y="580"/>
                      </a:lnTo>
                      <a:lnTo>
                        <a:pt x="1042" y="574"/>
                      </a:lnTo>
                      <a:lnTo>
                        <a:pt x="1036" y="574"/>
                      </a:lnTo>
                      <a:lnTo>
                        <a:pt x="1032" y="574"/>
                      </a:lnTo>
                      <a:lnTo>
                        <a:pt x="1032" y="574"/>
                      </a:lnTo>
                      <a:lnTo>
                        <a:pt x="1024" y="568"/>
                      </a:lnTo>
                      <a:lnTo>
                        <a:pt x="1024" y="568"/>
                      </a:lnTo>
                      <a:lnTo>
                        <a:pt x="1022" y="568"/>
                      </a:lnTo>
                      <a:lnTo>
                        <a:pt x="1018" y="570"/>
                      </a:lnTo>
                      <a:lnTo>
                        <a:pt x="1012" y="570"/>
                      </a:lnTo>
                      <a:lnTo>
                        <a:pt x="1014" y="574"/>
                      </a:lnTo>
                      <a:lnTo>
                        <a:pt x="1008" y="574"/>
                      </a:lnTo>
                      <a:lnTo>
                        <a:pt x="1004" y="574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8" y="580"/>
                      </a:lnTo>
                      <a:lnTo>
                        <a:pt x="1000" y="578"/>
                      </a:lnTo>
                      <a:lnTo>
                        <a:pt x="1000" y="578"/>
                      </a:lnTo>
                      <a:lnTo>
                        <a:pt x="990" y="580"/>
                      </a:lnTo>
                      <a:lnTo>
                        <a:pt x="982" y="586"/>
                      </a:lnTo>
                      <a:lnTo>
                        <a:pt x="978" y="592"/>
                      </a:lnTo>
                      <a:lnTo>
                        <a:pt x="976" y="602"/>
                      </a:lnTo>
                      <a:lnTo>
                        <a:pt x="976" y="602"/>
                      </a:lnTo>
                      <a:lnTo>
                        <a:pt x="978" y="608"/>
                      </a:lnTo>
                      <a:lnTo>
                        <a:pt x="980" y="616"/>
                      </a:lnTo>
                      <a:lnTo>
                        <a:pt x="980" y="616"/>
                      </a:lnTo>
                      <a:lnTo>
                        <a:pt x="970" y="632"/>
                      </a:lnTo>
                      <a:lnTo>
                        <a:pt x="964" y="644"/>
                      </a:lnTo>
                      <a:lnTo>
                        <a:pt x="964" y="644"/>
                      </a:lnTo>
                      <a:lnTo>
                        <a:pt x="958" y="646"/>
                      </a:lnTo>
                      <a:lnTo>
                        <a:pt x="958" y="646"/>
                      </a:lnTo>
                      <a:lnTo>
                        <a:pt x="928" y="590"/>
                      </a:lnTo>
                      <a:lnTo>
                        <a:pt x="886" y="514"/>
                      </a:lnTo>
                      <a:lnTo>
                        <a:pt x="860" y="472"/>
                      </a:lnTo>
                      <a:lnTo>
                        <a:pt x="834" y="430"/>
                      </a:lnTo>
                      <a:lnTo>
                        <a:pt x="804" y="388"/>
                      </a:lnTo>
                      <a:lnTo>
                        <a:pt x="774" y="350"/>
                      </a:lnTo>
                      <a:lnTo>
                        <a:pt x="774" y="350"/>
                      </a:lnTo>
                      <a:lnTo>
                        <a:pt x="736" y="304"/>
                      </a:lnTo>
                      <a:lnTo>
                        <a:pt x="696" y="260"/>
                      </a:lnTo>
                      <a:lnTo>
                        <a:pt x="656" y="222"/>
                      </a:lnTo>
                      <a:lnTo>
                        <a:pt x="614" y="184"/>
                      </a:lnTo>
                      <a:lnTo>
                        <a:pt x="572" y="152"/>
                      </a:lnTo>
                      <a:lnTo>
                        <a:pt x="528" y="120"/>
                      </a:lnTo>
                      <a:lnTo>
                        <a:pt x="480" y="92"/>
                      </a:lnTo>
                      <a:lnTo>
                        <a:pt x="432" y="66"/>
                      </a:lnTo>
                      <a:lnTo>
                        <a:pt x="432" y="66"/>
                      </a:lnTo>
                      <a:lnTo>
                        <a:pt x="382" y="46"/>
                      </a:lnTo>
                      <a:lnTo>
                        <a:pt x="336" y="28"/>
                      </a:lnTo>
                      <a:lnTo>
                        <a:pt x="296" y="16"/>
                      </a:lnTo>
                      <a:lnTo>
                        <a:pt x="260" y="8"/>
                      </a:lnTo>
                      <a:lnTo>
                        <a:pt x="230" y="4"/>
                      </a:lnTo>
                      <a:lnTo>
                        <a:pt x="206" y="0"/>
                      </a:lnTo>
                      <a:lnTo>
                        <a:pt x="188" y="0"/>
                      </a:lnTo>
                      <a:lnTo>
                        <a:pt x="122" y="2"/>
                      </a:lnTo>
                      <a:lnTo>
                        <a:pt x="60" y="14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4"/>
                      </a:lnTo>
                      <a:lnTo>
                        <a:pt x="10" y="156"/>
                      </a:lnTo>
                      <a:lnTo>
                        <a:pt x="32" y="202"/>
                      </a:lnTo>
                      <a:lnTo>
                        <a:pt x="32" y="202"/>
                      </a:lnTo>
                      <a:lnTo>
                        <a:pt x="42" y="218"/>
                      </a:lnTo>
                      <a:lnTo>
                        <a:pt x="54" y="232"/>
                      </a:lnTo>
                      <a:lnTo>
                        <a:pt x="58" y="236"/>
                      </a:lnTo>
                      <a:lnTo>
                        <a:pt x="64" y="240"/>
                      </a:lnTo>
                      <a:lnTo>
                        <a:pt x="64" y="240"/>
                      </a:lnTo>
                      <a:lnTo>
                        <a:pt x="68" y="242"/>
                      </a:lnTo>
                      <a:lnTo>
                        <a:pt x="72" y="246"/>
                      </a:lnTo>
                      <a:lnTo>
                        <a:pt x="78" y="258"/>
                      </a:lnTo>
                      <a:lnTo>
                        <a:pt x="82" y="272"/>
                      </a:lnTo>
                      <a:lnTo>
                        <a:pt x="82" y="272"/>
                      </a:lnTo>
                      <a:lnTo>
                        <a:pt x="90" y="286"/>
                      </a:lnTo>
                      <a:lnTo>
                        <a:pt x="100" y="298"/>
                      </a:lnTo>
                      <a:lnTo>
                        <a:pt x="108" y="302"/>
                      </a:lnTo>
                      <a:lnTo>
                        <a:pt x="114" y="308"/>
                      </a:lnTo>
                      <a:lnTo>
                        <a:pt x="114" y="308"/>
                      </a:lnTo>
                      <a:lnTo>
                        <a:pt x="122" y="312"/>
                      </a:lnTo>
                      <a:lnTo>
                        <a:pt x="128" y="318"/>
                      </a:lnTo>
                      <a:lnTo>
                        <a:pt x="140" y="332"/>
                      </a:lnTo>
                      <a:lnTo>
                        <a:pt x="150" y="348"/>
                      </a:lnTo>
                      <a:lnTo>
                        <a:pt x="154" y="358"/>
                      </a:lnTo>
                      <a:lnTo>
                        <a:pt x="154" y="358"/>
                      </a:lnTo>
                      <a:lnTo>
                        <a:pt x="156" y="364"/>
                      </a:lnTo>
                      <a:lnTo>
                        <a:pt x="158" y="370"/>
                      </a:lnTo>
                      <a:lnTo>
                        <a:pt x="170" y="384"/>
                      </a:lnTo>
                      <a:lnTo>
                        <a:pt x="186" y="404"/>
                      </a:lnTo>
                      <a:lnTo>
                        <a:pt x="186" y="404"/>
                      </a:lnTo>
                      <a:lnTo>
                        <a:pt x="190" y="428"/>
                      </a:lnTo>
                      <a:lnTo>
                        <a:pt x="192" y="446"/>
                      </a:lnTo>
                      <a:lnTo>
                        <a:pt x="192" y="452"/>
                      </a:lnTo>
                      <a:lnTo>
                        <a:pt x="190" y="458"/>
                      </a:lnTo>
                      <a:lnTo>
                        <a:pt x="190" y="458"/>
                      </a:lnTo>
                      <a:lnTo>
                        <a:pt x="188" y="462"/>
                      </a:lnTo>
                      <a:lnTo>
                        <a:pt x="188" y="466"/>
                      </a:lnTo>
                      <a:lnTo>
                        <a:pt x="194" y="474"/>
                      </a:lnTo>
                      <a:lnTo>
                        <a:pt x="206" y="484"/>
                      </a:lnTo>
                      <a:lnTo>
                        <a:pt x="206" y="484"/>
                      </a:lnTo>
                      <a:lnTo>
                        <a:pt x="210" y="488"/>
                      </a:lnTo>
                      <a:lnTo>
                        <a:pt x="214" y="498"/>
                      </a:lnTo>
                      <a:lnTo>
                        <a:pt x="216" y="506"/>
                      </a:lnTo>
                      <a:lnTo>
                        <a:pt x="218" y="512"/>
                      </a:lnTo>
                      <a:lnTo>
                        <a:pt x="218" y="518"/>
                      </a:lnTo>
                      <a:lnTo>
                        <a:pt x="214" y="526"/>
                      </a:lnTo>
                      <a:lnTo>
                        <a:pt x="214" y="526"/>
                      </a:lnTo>
                      <a:lnTo>
                        <a:pt x="212" y="532"/>
                      </a:lnTo>
                      <a:lnTo>
                        <a:pt x="212" y="542"/>
                      </a:lnTo>
                      <a:lnTo>
                        <a:pt x="214" y="552"/>
                      </a:lnTo>
                      <a:lnTo>
                        <a:pt x="218" y="562"/>
                      </a:lnTo>
                      <a:lnTo>
                        <a:pt x="228" y="580"/>
                      </a:lnTo>
                      <a:lnTo>
                        <a:pt x="232" y="586"/>
                      </a:lnTo>
                      <a:lnTo>
                        <a:pt x="236" y="590"/>
                      </a:lnTo>
                      <a:lnTo>
                        <a:pt x="236" y="590"/>
                      </a:lnTo>
                      <a:lnTo>
                        <a:pt x="238" y="594"/>
                      </a:lnTo>
                      <a:lnTo>
                        <a:pt x="242" y="598"/>
                      </a:lnTo>
                      <a:lnTo>
                        <a:pt x="246" y="612"/>
                      </a:lnTo>
                      <a:lnTo>
                        <a:pt x="250" y="628"/>
                      </a:lnTo>
                      <a:lnTo>
                        <a:pt x="250" y="628"/>
                      </a:lnTo>
                      <a:lnTo>
                        <a:pt x="252" y="632"/>
                      </a:lnTo>
                      <a:lnTo>
                        <a:pt x="254" y="642"/>
                      </a:lnTo>
                      <a:lnTo>
                        <a:pt x="264" y="656"/>
                      </a:lnTo>
                      <a:lnTo>
                        <a:pt x="278" y="678"/>
                      </a:lnTo>
                      <a:lnTo>
                        <a:pt x="278" y="678"/>
                      </a:lnTo>
                      <a:lnTo>
                        <a:pt x="294" y="698"/>
                      </a:lnTo>
                      <a:lnTo>
                        <a:pt x="304" y="712"/>
                      </a:lnTo>
                      <a:lnTo>
                        <a:pt x="316" y="734"/>
                      </a:lnTo>
                      <a:lnTo>
                        <a:pt x="316" y="734"/>
                      </a:lnTo>
                      <a:lnTo>
                        <a:pt x="320" y="740"/>
                      </a:lnTo>
                      <a:lnTo>
                        <a:pt x="326" y="744"/>
                      </a:lnTo>
                      <a:lnTo>
                        <a:pt x="344" y="752"/>
                      </a:lnTo>
                      <a:lnTo>
                        <a:pt x="364" y="760"/>
                      </a:lnTo>
                      <a:lnTo>
                        <a:pt x="414" y="768"/>
                      </a:lnTo>
                      <a:lnTo>
                        <a:pt x="468" y="768"/>
                      </a:lnTo>
                      <a:lnTo>
                        <a:pt x="516" y="768"/>
                      </a:lnTo>
                      <a:lnTo>
                        <a:pt x="584" y="772"/>
                      </a:lnTo>
                      <a:lnTo>
                        <a:pt x="626" y="778"/>
                      </a:lnTo>
                      <a:lnTo>
                        <a:pt x="628" y="780"/>
                      </a:lnTo>
                      <a:lnTo>
                        <a:pt x="628" y="780"/>
                      </a:lnTo>
                      <a:lnTo>
                        <a:pt x="596" y="796"/>
                      </a:lnTo>
                      <a:lnTo>
                        <a:pt x="568" y="814"/>
                      </a:lnTo>
                      <a:lnTo>
                        <a:pt x="542" y="832"/>
                      </a:lnTo>
                      <a:lnTo>
                        <a:pt x="518" y="850"/>
                      </a:lnTo>
                      <a:lnTo>
                        <a:pt x="518" y="850"/>
                      </a:lnTo>
                      <a:lnTo>
                        <a:pt x="472" y="890"/>
                      </a:lnTo>
                      <a:lnTo>
                        <a:pt x="442" y="918"/>
                      </a:lnTo>
                      <a:lnTo>
                        <a:pt x="422" y="938"/>
                      </a:lnTo>
                      <a:lnTo>
                        <a:pt x="414" y="952"/>
                      </a:lnTo>
                      <a:lnTo>
                        <a:pt x="412" y="958"/>
                      </a:lnTo>
                      <a:lnTo>
                        <a:pt x="416" y="962"/>
                      </a:lnTo>
                      <a:lnTo>
                        <a:pt x="418" y="962"/>
                      </a:lnTo>
                      <a:lnTo>
                        <a:pt x="420" y="962"/>
                      </a:lnTo>
                      <a:lnTo>
                        <a:pt x="430" y="996"/>
                      </a:lnTo>
                      <a:lnTo>
                        <a:pt x="430" y="996"/>
                      </a:lnTo>
                      <a:lnTo>
                        <a:pt x="438" y="1020"/>
                      </a:lnTo>
                      <a:lnTo>
                        <a:pt x="446" y="1044"/>
                      </a:lnTo>
                      <a:lnTo>
                        <a:pt x="458" y="1074"/>
                      </a:lnTo>
                      <a:lnTo>
                        <a:pt x="474" y="1102"/>
                      </a:lnTo>
                      <a:lnTo>
                        <a:pt x="490" y="1130"/>
                      </a:lnTo>
                      <a:lnTo>
                        <a:pt x="500" y="1142"/>
                      </a:lnTo>
                      <a:lnTo>
                        <a:pt x="510" y="1152"/>
                      </a:lnTo>
                      <a:lnTo>
                        <a:pt x="520" y="1160"/>
                      </a:lnTo>
                      <a:lnTo>
                        <a:pt x="530" y="1166"/>
                      </a:lnTo>
                      <a:lnTo>
                        <a:pt x="530" y="1166"/>
                      </a:lnTo>
                      <a:lnTo>
                        <a:pt x="548" y="1174"/>
                      </a:lnTo>
                      <a:lnTo>
                        <a:pt x="560" y="1184"/>
                      </a:lnTo>
                      <a:lnTo>
                        <a:pt x="568" y="1194"/>
                      </a:lnTo>
                      <a:lnTo>
                        <a:pt x="572" y="1204"/>
                      </a:lnTo>
                      <a:lnTo>
                        <a:pt x="574" y="1214"/>
                      </a:lnTo>
                      <a:lnTo>
                        <a:pt x="574" y="1222"/>
                      </a:lnTo>
                      <a:lnTo>
                        <a:pt x="574" y="1228"/>
                      </a:lnTo>
                      <a:lnTo>
                        <a:pt x="574" y="1228"/>
                      </a:lnTo>
                      <a:lnTo>
                        <a:pt x="578" y="1236"/>
                      </a:lnTo>
                      <a:lnTo>
                        <a:pt x="588" y="1256"/>
                      </a:lnTo>
                      <a:lnTo>
                        <a:pt x="596" y="1268"/>
                      </a:lnTo>
                      <a:lnTo>
                        <a:pt x="604" y="1278"/>
                      </a:lnTo>
                      <a:lnTo>
                        <a:pt x="616" y="1284"/>
                      </a:lnTo>
                      <a:lnTo>
                        <a:pt x="626" y="1288"/>
                      </a:lnTo>
                      <a:lnTo>
                        <a:pt x="626" y="1288"/>
                      </a:lnTo>
                      <a:lnTo>
                        <a:pt x="632" y="1290"/>
                      </a:lnTo>
                      <a:lnTo>
                        <a:pt x="638" y="1294"/>
                      </a:lnTo>
                      <a:lnTo>
                        <a:pt x="642" y="1300"/>
                      </a:lnTo>
                      <a:lnTo>
                        <a:pt x="646" y="1306"/>
                      </a:lnTo>
                      <a:lnTo>
                        <a:pt x="652" y="1322"/>
                      </a:lnTo>
                      <a:lnTo>
                        <a:pt x="656" y="1340"/>
                      </a:lnTo>
                      <a:lnTo>
                        <a:pt x="660" y="1374"/>
                      </a:lnTo>
                      <a:lnTo>
                        <a:pt x="662" y="1388"/>
                      </a:lnTo>
                      <a:lnTo>
                        <a:pt x="662" y="1388"/>
                      </a:lnTo>
                      <a:lnTo>
                        <a:pt x="662" y="1404"/>
                      </a:lnTo>
                      <a:lnTo>
                        <a:pt x="660" y="1420"/>
                      </a:lnTo>
                      <a:lnTo>
                        <a:pt x="656" y="1442"/>
                      </a:lnTo>
                      <a:lnTo>
                        <a:pt x="650" y="1464"/>
                      </a:lnTo>
                      <a:lnTo>
                        <a:pt x="642" y="1486"/>
                      </a:lnTo>
                      <a:lnTo>
                        <a:pt x="636" y="1498"/>
                      </a:lnTo>
                      <a:lnTo>
                        <a:pt x="630" y="1508"/>
                      </a:lnTo>
                      <a:lnTo>
                        <a:pt x="622" y="1518"/>
                      </a:lnTo>
                      <a:lnTo>
                        <a:pt x="612" y="1528"/>
                      </a:lnTo>
                      <a:lnTo>
                        <a:pt x="612" y="1528"/>
                      </a:lnTo>
                      <a:lnTo>
                        <a:pt x="596" y="1544"/>
                      </a:lnTo>
                      <a:lnTo>
                        <a:pt x="582" y="1558"/>
                      </a:lnTo>
                      <a:lnTo>
                        <a:pt x="562" y="1580"/>
                      </a:lnTo>
                      <a:lnTo>
                        <a:pt x="550" y="1596"/>
                      </a:lnTo>
                      <a:lnTo>
                        <a:pt x="548" y="1602"/>
                      </a:lnTo>
                      <a:lnTo>
                        <a:pt x="548" y="1602"/>
                      </a:lnTo>
                      <a:lnTo>
                        <a:pt x="538" y="1616"/>
                      </a:lnTo>
                      <a:lnTo>
                        <a:pt x="530" y="1632"/>
                      </a:lnTo>
                      <a:lnTo>
                        <a:pt x="522" y="1652"/>
                      </a:lnTo>
                      <a:lnTo>
                        <a:pt x="522" y="1652"/>
                      </a:lnTo>
                      <a:lnTo>
                        <a:pt x="518" y="1676"/>
                      </a:lnTo>
                      <a:lnTo>
                        <a:pt x="516" y="1698"/>
                      </a:lnTo>
                      <a:lnTo>
                        <a:pt x="518" y="1716"/>
                      </a:lnTo>
                      <a:lnTo>
                        <a:pt x="520" y="1724"/>
                      </a:lnTo>
                      <a:lnTo>
                        <a:pt x="522" y="1732"/>
                      </a:lnTo>
                      <a:lnTo>
                        <a:pt x="522" y="1732"/>
                      </a:lnTo>
                      <a:lnTo>
                        <a:pt x="526" y="1736"/>
                      </a:lnTo>
                      <a:lnTo>
                        <a:pt x="532" y="1738"/>
                      </a:lnTo>
                      <a:lnTo>
                        <a:pt x="538" y="1738"/>
                      </a:lnTo>
                      <a:lnTo>
                        <a:pt x="544" y="1738"/>
                      </a:lnTo>
                      <a:lnTo>
                        <a:pt x="554" y="1734"/>
                      </a:lnTo>
                      <a:lnTo>
                        <a:pt x="558" y="1732"/>
                      </a:lnTo>
                      <a:lnTo>
                        <a:pt x="640" y="1640"/>
                      </a:lnTo>
                      <a:lnTo>
                        <a:pt x="636" y="1610"/>
                      </a:lnTo>
                      <a:lnTo>
                        <a:pt x="636" y="1610"/>
                      </a:lnTo>
                      <a:lnTo>
                        <a:pt x="648" y="1598"/>
                      </a:lnTo>
                      <a:lnTo>
                        <a:pt x="658" y="1590"/>
                      </a:lnTo>
                      <a:lnTo>
                        <a:pt x="664" y="1588"/>
                      </a:lnTo>
                      <a:lnTo>
                        <a:pt x="670" y="1586"/>
                      </a:lnTo>
                      <a:lnTo>
                        <a:pt x="670" y="1586"/>
                      </a:lnTo>
                      <a:lnTo>
                        <a:pt x="678" y="1582"/>
                      </a:lnTo>
                      <a:lnTo>
                        <a:pt x="684" y="1578"/>
                      </a:lnTo>
                      <a:lnTo>
                        <a:pt x="698" y="1562"/>
                      </a:lnTo>
                      <a:lnTo>
                        <a:pt x="712" y="1538"/>
                      </a:lnTo>
                      <a:lnTo>
                        <a:pt x="712" y="1538"/>
                      </a:lnTo>
                      <a:lnTo>
                        <a:pt x="732" y="1520"/>
                      </a:lnTo>
                      <a:lnTo>
                        <a:pt x="752" y="1500"/>
                      </a:lnTo>
                      <a:lnTo>
                        <a:pt x="770" y="1476"/>
                      </a:lnTo>
                      <a:lnTo>
                        <a:pt x="770" y="1476"/>
                      </a:lnTo>
                      <a:lnTo>
                        <a:pt x="790" y="1446"/>
                      </a:lnTo>
                      <a:lnTo>
                        <a:pt x="812" y="1410"/>
                      </a:lnTo>
                      <a:lnTo>
                        <a:pt x="830" y="1374"/>
                      </a:lnTo>
                      <a:lnTo>
                        <a:pt x="836" y="1356"/>
                      </a:lnTo>
                      <a:lnTo>
                        <a:pt x="840" y="1342"/>
                      </a:lnTo>
                      <a:lnTo>
                        <a:pt x="840" y="1342"/>
                      </a:lnTo>
                      <a:lnTo>
                        <a:pt x="854" y="1266"/>
                      </a:lnTo>
                      <a:lnTo>
                        <a:pt x="878" y="1136"/>
                      </a:lnTo>
                      <a:lnTo>
                        <a:pt x="890" y="1070"/>
                      </a:lnTo>
                      <a:lnTo>
                        <a:pt x="904" y="1014"/>
                      </a:lnTo>
                      <a:lnTo>
                        <a:pt x="910" y="992"/>
                      </a:lnTo>
                      <a:lnTo>
                        <a:pt x="916" y="974"/>
                      </a:lnTo>
                      <a:lnTo>
                        <a:pt x="922" y="964"/>
                      </a:lnTo>
                      <a:lnTo>
                        <a:pt x="924" y="960"/>
                      </a:lnTo>
                      <a:lnTo>
                        <a:pt x="926" y="960"/>
                      </a:lnTo>
                      <a:lnTo>
                        <a:pt x="926" y="960"/>
                      </a:lnTo>
                      <a:lnTo>
                        <a:pt x="932" y="958"/>
                      </a:lnTo>
                      <a:lnTo>
                        <a:pt x="938" y="954"/>
                      </a:lnTo>
                      <a:lnTo>
                        <a:pt x="950" y="942"/>
                      </a:lnTo>
                      <a:lnTo>
                        <a:pt x="964" y="926"/>
                      </a:lnTo>
                      <a:lnTo>
                        <a:pt x="976" y="908"/>
                      </a:lnTo>
                      <a:lnTo>
                        <a:pt x="968" y="972"/>
                      </a:lnTo>
                      <a:lnTo>
                        <a:pt x="972" y="994"/>
                      </a:lnTo>
                      <a:lnTo>
                        <a:pt x="962" y="1022"/>
                      </a:lnTo>
                      <a:lnTo>
                        <a:pt x="962" y="1068"/>
                      </a:lnTo>
                      <a:lnTo>
                        <a:pt x="962" y="1080"/>
                      </a:lnTo>
                      <a:lnTo>
                        <a:pt x="962" y="1146"/>
                      </a:lnTo>
                      <a:lnTo>
                        <a:pt x="972" y="1150"/>
                      </a:lnTo>
                      <a:lnTo>
                        <a:pt x="972" y="1160"/>
                      </a:lnTo>
                      <a:lnTo>
                        <a:pt x="962" y="1170"/>
                      </a:lnTo>
                      <a:lnTo>
                        <a:pt x="964" y="1202"/>
                      </a:lnTo>
                      <a:lnTo>
                        <a:pt x="964" y="1252"/>
                      </a:lnTo>
                      <a:lnTo>
                        <a:pt x="984" y="1294"/>
                      </a:lnTo>
                      <a:lnTo>
                        <a:pt x="1016" y="1320"/>
                      </a:lnTo>
                      <a:lnTo>
                        <a:pt x="1018" y="1292"/>
                      </a:lnTo>
                      <a:lnTo>
                        <a:pt x="1022" y="1320"/>
                      </a:lnTo>
                      <a:lnTo>
                        <a:pt x="1054" y="1294"/>
                      </a:lnTo>
                      <a:lnTo>
                        <a:pt x="1074" y="1252"/>
                      </a:lnTo>
                      <a:lnTo>
                        <a:pt x="1074" y="1202"/>
                      </a:lnTo>
                      <a:lnTo>
                        <a:pt x="1076" y="1170"/>
                      </a:lnTo>
                      <a:lnTo>
                        <a:pt x="1066" y="1160"/>
                      </a:lnTo>
                      <a:lnTo>
                        <a:pt x="1066" y="1150"/>
                      </a:lnTo>
                      <a:lnTo>
                        <a:pt x="1076" y="1146"/>
                      </a:lnTo>
                      <a:lnTo>
                        <a:pt x="1076" y="1080"/>
                      </a:lnTo>
                      <a:lnTo>
                        <a:pt x="1076" y="1068"/>
                      </a:lnTo>
                      <a:lnTo>
                        <a:pt x="1076" y="1022"/>
                      </a:lnTo>
                      <a:lnTo>
                        <a:pt x="1066" y="994"/>
                      </a:lnTo>
                      <a:lnTo>
                        <a:pt x="1068" y="972"/>
                      </a:lnTo>
                      <a:lnTo>
                        <a:pt x="1062" y="908"/>
                      </a:lnTo>
                      <a:lnTo>
                        <a:pt x="1062" y="908"/>
                      </a:lnTo>
                      <a:lnTo>
                        <a:pt x="1074" y="926"/>
                      </a:lnTo>
                      <a:lnTo>
                        <a:pt x="1088" y="942"/>
                      </a:lnTo>
                      <a:lnTo>
                        <a:pt x="1100" y="954"/>
                      </a:lnTo>
                      <a:lnTo>
                        <a:pt x="1106" y="958"/>
                      </a:lnTo>
                      <a:lnTo>
                        <a:pt x="1112" y="960"/>
                      </a:lnTo>
                      <a:lnTo>
                        <a:pt x="1112" y="960"/>
                      </a:lnTo>
                      <a:lnTo>
                        <a:pt x="1114" y="960"/>
                      </a:lnTo>
                      <a:lnTo>
                        <a:pt x="1116" y="964"/>
                      </a:lnTo>
                      <a:lnTo>
                        <a:pt x="1122" y="974"/>
                      </a:lnTo>
                      <a:lnTo>
                        <a:pt x="1128" y="992"/>
                      </a:lnTo>
                      <a:lnTo>
                        <a:pt x="1134" y="1014"/>
                      </a:lnTo>
                      <a:lnTo>
                        <a:pt x="1148" y="1070"/>
                      </a:lnTo>
                      <a:lnTo>
                        <a:pt x="1160" y="1136"/>
                      </a:lnTo>
                      <a:lnTo>
                        <a:pt x="1184" y="1266"/>
                      </a:lnTo>
                      <a:lnTo>
                        <a:pt x="1198" y="1342"/>
                      </a:lnTo>
                      <a:lnTo>
                        <a:pt x="1198" y="1342"/>
                      </a:lnTo>
                      <a:lnTo>
                        <a:pt x="1202" y="1356"/>
                      </a:lnTo>
                      <a:lnTo>
                        <a:pt x="1208" y="1374"/>
                      </a:lnTo>
                      <a:lnTo>
                        <a:pt x="1226" y="1410"/>
                      </a:lnTo>
                      <a:lnTo>
                        <a:pt x="1248" y="1446"/>
                      </a:lnTo>
                      <a:lnTo>
                        <a:pt x="1268" y="1476"/>
                      </a:lnTo>
                      <a:lnTo>
                        <a:pt x="1268" y="1476"/>
                      </a:lnTo>
                      <a:lnTo>
                        <a:pt x="1286" y="1500"/>
                      </a:lnTo>
                      <a:lnTo>
                        <a:pt x="1304" y="1520"/>
                      </a:lnTo>
                      <a:lnTo>
                        <a:pt x="1326" y="1538"/>
                      </a:lnTo>
                      <a:lnTo>
                        <a:pt x="1326" y="1538"/>
                      </a:lnTo>
                      <a:lnTo>
                        <a:pt x="1340" y="1562"/>
                      </a:lnTo>
                      <a:lnTo>
                        <a:pt x="1354" y="1578"/>
                      </a:lnTo>
                      <a:lnTo>
                        <a:pt x="1360" y="1582"/>
                      </a:lnTo>
                      <a:lnTo>
                        <a:pt x="1366" y="1586"/>
                      </a:lnTo>
                      <a:lnTo>
                        <a:pt x="1366" y="1586"/>
                      </a:lnTo>
                      <a:lnTo>
                        <a:pt x="1374" y="1588"/>
                      </a:lnTo>
                      <a:lnTo>
                        <a:pt x="1380" y="1590"/>
                      </a:lnTo>
                      <a:lnTo>
                        <a:pt x="1390" y="1598"/>
                      </a:lnTo>
                      <a:lnTo>
                        <a:pt x="1402" y="1610"/>
                      </a:lnTo>
                      <a:lnTo>
                        <a:pt x="1398" y="1640"/>
                      </a:lnTo>
                      <a:lnTo>
                        <a:pt x="1480" y="1732"/>
                      </a:lnTo>
                      <a:lnTo>
                        <a:pt x="1480" y="1732"/>
                      </a:lnTo>
                      <a:lnTo>
                        <a:pt x="1484" y="1734"/>
                      </a:lnTo>
                      <a:lnTo>
                        <a:pt x="1494" y="1738"/>
                      </a:lnTo>
                      <a:lnTo>
                        <a:pt x="1500" y="1738"/>
                      </a:lnTo>
                      <a:lnTo>
                        <a:pt x="1506" y="1738"/>
                      </a:lnTo>
                      <a:lnTo>
                        <a:pt x="1512" y="1736"/>
                      </a:lnTo>
                      <a:lnTo>
                        <a:pt x="1516" y="1732"/>
                      </a:lnTo>
                      <a:lnTo>
                        <a:pt x="1516" y="1732"/>
                      </a:lnTo>
                      <a:lnTo>
                        <a:pt x="1518" y="1724"/>
                      </a:lnTo>
                      <a:lnTo>
                        <a:pt x="1520" y="1716"/>
                      </a:lnTo>
                      <a:lnTo>
                        <a:pt x="1522" y="1698"/>
                      </a:lnTo>
                      <a:lnTo>
                        <a:pt x="1520" y="1676"/>
                      </a:lnTo>
                      <a:lnTo>
                        <a:pt x="1516" y="1652"/>
                      </a:lnTo>
                      <a:lnTo>
                        <a:pt x="1516" y="1652"/>
                      </a:lnTo>
                      <a:lnTo>
                        <a:pt x="1508" y="1632"/>
                      </a:lnTo>
                      <a:lnTo>
                        <a:pt x="1500" y="1616"/>
                      </a:lnTo>
                      <a:lnTo>
                        <a:pt x="1490" y="1602"/>
                      </a:lnTo>
                      <a:lnTo>
                        <a:pt x="1490" y="1602"/>
                      </a:lnTo>
                      <a:lnTo>
                        <a:pt x="1486" y="1596"/>
                      </a:lnTo>
                      <a:lnTo>
                        <a:pt x="1476" y="1580"/>
                      </a:lnTo>
                      <a:lnTo>
                        <a:pt x="1456" y="1558"/>
                      </a:lnTo>
                      <a:lnTo>
                        <a:pt x="1442" y="1544"/>
                      </a:lnTo>
                      <a:lnTo>
                        <a:pt x="1424" y="1528"/>
                      </a:lnTo>
                      <a:lnTo>
                        <a:pt x="1424" y="1528"/>
                      </a:lnTo>
                      <a:lnTo>
                        <a:pt x="1416" y="1518"/>
                      </a:lnTo>
                      <a:lnTo>
                        <a:pt x="1408" y="1508"/>
                      </a:lnTo>
                      <a:lnTo>
                        <a:pt x="1402" y="1498"/>
                      </a:lnTo>
                      <a:lnTo>
                        <a:pt x="1396" y="1486"/>
                      </a:lnTo>
                      <a:lnTo>
                        <a:pt x="1386" y="1464"/>
                      </a:lnTo>
                      <a:lnTo>
                        <a:pt x="1382" y="1442"/>
                      </a:lnTo>
                      <a:lnTo>
                        <a:pt x="1378" y="1420"/>
                      </a:lnTo>
                      <a:lnTo>
                        <a:pt x="1376" y="1404"/>
                      </a:lnTo>
                      <a:lnTo>
                        <a:pt x="1376" y="1388"/>
                      </a:lnTo>
                      <a:lnTo>
                        <a:pt x="1376" y="1388"/>
                      </a:lnTo>
                      <a:lnTo>
                        <a:pt x="1378" y="1374"/>
                      </a:lnTo>
                      <a:lnTo>
                        <a:pt x="1382" y="1340"/>
                      </a:lnTo>
                      <a:lnTo>
                        <a:pt x="1386" y="1322"/>
                      </a:lnTo>
                      <a:lnTo>
                        <a:pt x="1392" y="1306"/>
                      </a:lnTo>
                      <a:lnTo>
                        <a:pt x="1396" y="1300"/>
                      </a:lnTo>
                      <a:lnTo>
                        <a:pt x="1400" y="1294"/>
                      </a:lnTo>
                      <a:lnTo>
                        <a:pt x="1406" y="1290"/>
                      </a:lnTo>
                      <a:lnTo>
                        <a:pt x="1410" y="1288"/>
                      </a:lnTo>
                      <a:lnTo>
                        <a:pt x="1410" y="1288"/>
                      </a:lnTo>
                      <a:lnTo>
                        <a:pt x="1422" y="1284"/>
                      </a:lnTo>
                      <a:lnTo>
                        <a:pt x="1432" y="1278"/>
                      </a:lnTo>
                      <a:lnTo>
                        <a:pt x="1442" y="1268"/>
                      </a:lnTo>
                      <a:lnTo>
                        <a:pt x="1450" y="1256"/>
                      </a:lnTo>
                      <a:lnTo>
                        <a:pt x="1460" y="1236"/>
                      </a:lnTo>
                      <a:lnTo>
                        <a:pt x="1464" y="1228"/>
                      </a:lnTo>
                      <a:lnTo>
                        <a:pt x="1464" y="1228"/>
                      </a:lnTo>
                      <a:lnTo>
                        <a:pt x="1464" y="1222"/>
                      </a:lnTo>
                      <a:lnTo>
                        <a:pt x="1464" y="1214"/>
                      </a:lnTo>
                      <a:lnTo>
                        <a:pt x="1466" y="1204"/>
                      </a:lnTo>
                      <a:lnTo>
                        <a:pt x="1470" y="1194"/>
                      </a:lnTo>
                      <a:lnTo>
                        <a:pt x="1478" y="1184"/>
                      </a:lnTo>
                      <a:lnTo>
                        <a:pt x="1490" y="1174"/>
                      </a:lnTo>
                      <a:lnTo>
                        <a:pt x="1508" y="1166"/>
                      </a:lnTo>
                      <a:lnTo>
                        <a:pt x="1508" y="1166"/>
                      </a:lnTo>
                      <a:lnTo>
                        <a:pt x="1518" y="1160"/>
                      </a:lnTo>
                      <a:lnTo>
                        <a:pt x="1528" y="1152"/>
                      </a:lnTo>
                      <a:lnTo>
                        <a:pt x="1538" y="1142"/>
                      </a:lnTo>
                      <a:lnTo>
                        <a:pt x="1548" y="1130"/>
                      </a:lnTo>
                      <a:lnTo>
                        <a:pt x="1564" y="1102"/>
                      </a:lnTo>
                      <a:lnTo>
                        <a:pt x="1580" y="1074"/>
                      </a:lnTo>
                      <a:lnTo>
                        <a:pt x="1592" y="1044"/>
                      </a:lnTo>
                      <a:lnTo>
                        <a:pt x="1600" y="1020"/>
                      </a:lnTo>
                      <a:lnTo>
                        <a:pt x="1608" y="996"/>
                      </a:lnTo>
                      <a:lnTo>
                        <a:pt x="1618" y="962"/>
                      </a:lnTo>
                      <a:lnTo>
                        <a:pt x="1618" y="962"/>
                      </a:lnTo>
                      <a:lnTo>
                        <a:pt x="1620" y="962"/>
                      </a:lnTo>
                      <a:lnTo>
                        <a:pt x="1622" y="962"/>
                      </a:lnTo>
                      <a:lnTo>
                        <a:pt x="1626" y="958"/>
                      </a:lnTo>
                      <a:lnTo>
                        <a:pt x="1624" y="952"/>
                      </a:lnTo>
                      <a:lnTo>
                        <a:pt x="1614" y="938"/>
                      </a:lnTo>
                      <a:lnTo>
                        <a:pt x="1596" y="918"/>
                      </a:lnTo>
                      <a:lnTo>
                        <a:pt x="1566" y="890"/>
                      </a:lnTo>
                      <a:lnTo>
                        <a:pt x="1520" y="850"/>
                      </a:lnTo>
                      <a:lnTo>
                        <a:pt x="1520" y="850"/>
                      </a:lnTo>
                      <a:lnTo>
                        <a:pt x="1496" y="832"/>
                      </a:lnTo>
                      <a:lnTo>
                        <a:pt x="1470" y="814"/>
                      </a:lnTo>
                      <a:lnTo>
                        <a:pt x="1440" y="796"/>
                      </a:lnTo>
                      <a:lnTo>
                        <a:pt x="1410" y="780"/>
                      </a:lnTo>
                      <a:lnTo>
                        <a:pt x="1412" y="778"/>
                      </a:lnTo>
                      <a:lnTo>
                        <a:pt x="1454" y="772"/>
                      </a:lnTo>
                      <a:lnTo>
                        <a:pt x="1522" y="768"/>
                      </a:lnTo>
                      <a:lnTo>
                        <a:pt x="1570" y="768"/>
                      </a:lnTo>
                      <a:lnTo>
                        <a:pt x="1624" y="768"/>
                      </a:lnTo>
                      <a:lnTo>
                        <a:pt x="1674" y="760"/>
                      </a:lnTo>
                      <a:lnTo>
                        <a:pt x="1674" y="760"/>
                      </a:lnTo>
                      <a:lnTo>
                        <a:pt x="1694" y="752"/>
                      </a:lnTo>
                      <a:lnTo>
                        <a:pt x="1710" y="744"/>
                      </a:lnTo>
                      <a:lnTo>
                        <a:pt x="1718" y="740"/>
                      </a:lnTo>
                      <a:lnTo>
                        <a:pt x="1722" y="734"/>
                      </a:lnTo>
                      <a:lnTo>
                        <a:pt x="1722" y="734"/>
                      </a:lnTo>
                      <a:lnTo>
                        <a:pt x="1734" y="712"/>
                      </a:lnTo>
                      <a:lnTo>
                        <a:pt x="1744" y="698"/>
                      </a:lnTo>
                      <a:lnTo>
                        <a:pt x="1760" y="678"/>
                      </a:lnTo>
                      <a:lnTo>
                        <a:pt x="1760" y="678"/>
                      </a:lnTo>
                      <a:lnTo>
                        <a:pt x="1774" y="656"/>
                      </a:lnTo>
                      <a:lnTo>
                        <a:pt x="1782" y="642"/>
                      </a:lnTo>
                      <a:lnTo>
                        <a:pt x="1786" y="632"/>
                      </a:lnTo>
                      <a:lnTo>
                        <a:pt x="1788" y="628"/>
                      </a:lnTo>
                      <a:lnTo>
                        <a:pt x="1788" y="628"/>
                      </a:lnTo>
                      <a:lnTo>
                        <a:pt x="1792" y="612"/>
                      </a:lnTo>
                      <a:lnTo>
                        <a:pt x="1796" y="598"/>
                      </a:lnTo>
                      <a:lnTo>
                        <a:pt x="1798" y="594"/>
                      </a:lnTo>
                      <a:lnTo>
                        <a:pt x="1802" y="590"/>
                      </a:lnTo>
                      <a:lnTo>
                        <a:pt x="1802" y="590"/>
                      </a:lnTo>
                      <a:lnTo>
                        <a:pt x="1806" y="586"/>
                      </a:lnTo>
                      <a:lnTo>
                        <a:pt x="1810" y="580"/>
                      </a:lnTo>
                      <a:lnTo>
                        <a:pt x="1820" y="562"/>
                      </a:lnTo>
                      <a:lnTo>
                        <a:pt x="1824" y="552"/>
                      </a:lnTo>
                      <a:lnTo>
                        <a:pt x="1826" y="542"/>
                      </a:lnTo>
                      <a:lnTo>
                        <a:pt x="1826" y="532"/>
                      </a:lnTo>
                      <a:lnTo>
                        <a:pt x="1822" y="526"/>
                      </a:lnTo>
                      <a:lnTo>
                        <a:pt x="1822" y="526"/>
                      </a:lnTo>
                      <a:lnTo>
                        <a:pt x="1820" y="518"/>
                      </a:lnTo>
                      <a:lnTo>
                        <a:pt x="1820" y="512"/>
                      </a:lnTo>
                      <a:lnTo>
                        <a:pt x="1820" y="506"/>
                      </a:lnTo>
                      <a:lnTo>
                        <a:pt x="1824" y="498"/>
                      </a:lnTo>
                      <a:lnTo>
                        <a:pt x="1828" y="488"/>
                      </a:lnTo>
                      <a:lnTo>
                        <a:pt x="1832" y="484"/>
                      </a:lnTo>
                      <a:lnTo>
                        <a:pt x="1832" y="484"/>
                      </a:lnTo>
                      <a:lnTo>
                        <a:pt x="1842" y="474"/>
                      </a:lnTo>
                      <a:lnTo>
                        <a:pt x="1850" y="466"/>
                      </a:lnTo>
                      <a:lnTo>
                        <a:pt x="1850" y="462"/>
                      </a:lnTo>
                      <a:lnTo>
                        <a:pt x="1848" y="458"/>
                      </a:lnTo>
                      <a:lnTo>
                        <a:pt x="1848" y="458"/>
                      </a:lnTo>
                      <a:lnTo>
                        <a:pt x="1846" y="452"/>
                      </a:lnTo>
                      <a:lnTo>
                        <a:pt x="1846" y="446"/>
                      </a:lnTo>
                      <a:lnTo>
                        <a:pt x="1848" y="428"/>
                      </a:lnTo>
                      <a:lnTo>
                        <a:pt x="1852" y="404"/>
                      </a:lnTo>
                      <a:lnTo>
                        <a:pt x="1852" y="404"/>
                      </a:lnTo>
                      <a:lnTo>
                        <a:pt x="1868" y="384"/>
                      </a:lnTo>
                      <a:lnTo>
                        <a:pt x="1880" y="370"/>
                      </a:lnTo>
                      <a:lnTo>
                        <a:pt x="1882" y="364"/>
                      </a:lnTo>
                      <a:lnTo>
                        <a:pt x="1884" y="358"/>
                      </a:lnTo>
                      <a:lnTo>
                        <a:pt x="1884" y="358"/>
                      </a:lnTo>
                      <a:lnTo>
                        <a:pt x="1888" y="348"/>
                      </a:lnTo>
                      <a:lnTo>
                        <a:pt x="1896" y="332"/>
                      </a:lnTo>
                      <a:lnTo>
                        <a:pt x="1910" y="318"/>
                      </a:lnTo>
                      <a:lnTo>
                        <a:pt x="1916" y="312"/>
                      </a:lnTo>
                      <a:lnTo>
                        <a:pt x="1924" y="308"/>
                      </a:lnTo>
                      <a:lnTo>
                        <a:pt x="1924" y="308"/>
                      </a:lnTo>
                      <a:lnTo>
                        <a:pt x="1930" y="302"/>
                      </a:lnTo>
                      <a:lnTo>
                        <a:pt x="1936" y="298"/>
                      </a:lnTo>
                      <a:lnTo>
                        <a:pt x="1946" y="286"/>
                      </a:lnTo>
                      <a:lnTo>
                        <a:pt x="1956" y="272"/>
                      </a:lnTo>
                      <a:lnTo>
                        <a:pt x="1956" y="272"/>
                      </a:lnTo>
                      <a:lnTo>
                        <a:pt x="1960" y="258"/>
                      </a:lnTo>
                      <a:lnTo>
                        <a:pt x="1966" y="246"/>
                      </a:lnTo>
                      <a:lnTo>
                        <a:pt x="1970" y="242"/>
                      </a:lnTo>
                      <a:lnTo>
                        <a:pt x="1974" y="240"/>
                      </a:lnTo>
                      <a:lnTo>
                        <a:pt x="1974" y="240"/>
                      </a:lnTo>
                      <a:lnTo>
                        <a:pt x="1980" y="236"/>
                      </a:lnTo>
                      <a:lnTo>
                        <a:pt x="1984" y="232"/>
                      </a:lnTo>
                      <a:lnTo>
                        <a:pt x="1994" y="218"/>
                      </a:lnTo>
                      <a:lnTo>
                        <a:pt x="2006" y="202"/>
                      </a:lnTo>
                      <a:lnTo>
                        <a:pt x="2028" y="156"/>
                      </a:lnTo>
                      <a:lnTo>
                        <a:pt x="2038" y="114"/>
                      </a:lnTo>
                      <a:lnTo>
                        <a:pt x="2036" y="78"/>
                      </a:lnTo>
                      <a:close/>
                      <a:moveTo>
                        <a:pt x="1014" y="582"/>
                      </a:moveTo>
                      <a:lnTo>
                        <a:pt x="1014" y="584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lnTo>
                        <a:pt x="1014" y="582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72000"/>
                  </a:schemeClr>
                </a:soli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0" name="Group 134"/>
              <p:cNvGrpSpPr>
                <a:grpSpLocks noChangeAspect="1"/>
              </p:cNvGrpSpPr>
              <p:nvPr/>
            </p:nvGrpSpPr>
            <p:grpSpPr>
              <a:xfrm rot="1992353">
                <a:off x="7040279" y="5528388"/>
                <a:ext cx="986817" cy="1259010"/>
                <a:chOff x="1025626" y="1216025"/>
                <a:chExt cx="3317877" cy="4233024"/>
              </a:xfrm>
              <a:solidFill>
                <a:schemeClr val="bg2">
                  <a:lumMod val="60000"/>
                  <a:lumOff val="40000"/>
                  <a:alpha val="18000"/>
                </a:schemeClr>
              </a:solidFill>
            </p:grpSpPr>
            <p:sp>
              <p:nvSpPr>
                <p:cNvPr id="172" name="Freeform 80"/>
                <p:cNvSpPr>
                  <a:spLocks/>
                </p:cNvSpPr>
                <p:nvPr/>
              </p:nvSpPr>
              <p:spPr bwMode="auto">
                <a:xfrm>
                  <a:off x="2032000" y="1216025"/>
                  <a:ext cx="1588" cy="158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82"/>
                <p:cNvSpPr>
                  <a:spLocks noEditPoints="1"/>
                </p:cNvSpPr>
                <p:nvPr/>
              </p:nvSpPr>
              <p:spPr bwMode="auto">
                <a:xfrm rot="20200629">
                  <a:off x="1025626" y="2728077"/>
                  <a:ext cx="3317877" cy="2720972"/>
                </a:xfrm>
                <a:custGeom>
                  <a:avLst/>
                  <a:gdLst/>
                  <a:ahLst/>
                  <a:cxnLst>
                    <a:cxn ang="0">
                      <a:pos x="1784" y="18"/>
                    </a:cxn>
                    <a:cxn ang="0">
                      <a:pos x="1368" y="254"/>
                    </a:cxn>
                    <a:cxn ang="0">
                      <a:pos x="1096" y="632"/>
                    </a:cxn>
                    <a:cxn ang="0">
                      <a:pos x="1066" y="570"/>
                    </a:cxn>
                    <a:cxn ang="0">
                      <a:pos x="1044" y="562"/>
                    </a:cxn>
                    <a:cxn ang="0">
                      <a:pos x="1016" y="572"/>
                    </a:cxn>
                    <a:cxn ang="0">
                      <a:pos x="992" y="628"/>
                    </a:cxn>
                    <a:cxn ang="0">
                      <a:pos x="680" y="216"/>
                    </a:cxn>
                    <a:cxn ang="0">
                      <a:pos x="268" y="10"/>
                    </a:cxn>
                    <a:cxn ang="0">
                      <a:pos x="34" y="198"/>
                    </a:cxn>
                    <a:cxn ang="0">
                      <a:pos x="86" y="264"/>
                    </a:cxn>
                    <a:cxn ang="0">
                      <a:pos x="156" y="340"/>
                    </a:cxn>
                    <a:cxn ang="0">
                      <a:pos x="198" y="442"/>
                    </a:cxn>
                    <a:cxn ang="0">
                      <a:pos x="224" y="492"/>
                    </a:cxn>
                    <a:cxn ang="0">
                      <a:pos x="240" y="572"/>
                    </a:cxn>
                    <a:cxn ang="0">
                      <a:pos x="272" y="640"/>
                    </a:cxn>
                    <a:cxn ang="0">
                      <a:pos x="378" y="740"/>
                    </a:cxn>
                    <a:cxn ang="0">
                      <a:pos x="470" y="858"/>
                    </a:cxn>
                    <a:cxn ang="0">
                      <a:pos x="342" y="1124"/>
                    </a:cxn>
                    <a:cxn ang="0">
                      <a:pos x="376" y="1176"/>
                    </a:cxn>
                    <a:cxn ang="0">
                      <a:pos x="406" y="1268"/>
                    </a:cxn>
                    <a:cxn ang="0">
                      <a:pos x="458" y="1316"/>
                    </a:cxn>
                    <a:cxn ang="0">
                      <a:pos x="502" y="1380"/>
                    </a:cxn>
                    <a:cxn ang="0">
                      <a:pos x="536" y="1422"/>
                    </a:cxn>
                    <a:cxn ang="0">
                      <a:pos x="460" y="1554"/>
                    </a:cxn>
                    <a:cxn ang="0">
                      <a:pos x="414" y="1686"/>
                    </a:cxn>
                    <a:cxn ang="0">
                      <a:pos x="486" y="1704"/>
                    </a:cxn>
                    <a:cxn ang="0">
                      <a:pos x="586" y="1526"/>
                    </a:cxn>
                    <a:cxn ang="0">
                      <a:pos x="662" y="1528"/>
                    </a:cxn>
                    <a:cxn ang="0">
                      <a:pos x="700" y="1528"/>
                    </a:cxn>
                    <a:cxn ang="0">
                      <a:pos x="768" y="1532"/>
                    </a:cxn>
                    <a:cxn ang="0">
                      <a:pos x="816" y="1452"/>
                    </a:cxn>
                    <a:cxn ang="0">
                      <a:pos x="978" y="928"/>
                    </a:cxn>
                    <a:cxn ang="0">
                      <a:pos x="996" y="942"/>
                    </a:cxn>
                    <a:cxn ang="0">
                      <a:pos x="992" y="1208"/>
                    </a:cxn>
                    <a:cxn ang="0">
                      <a:pos x="1088" y="1112"/>
                    </a:cxn>
                    <a:cxn ang="0">
                      <a:pos x="1088" y="854"/>
                    </a:cxn>
                    <a:cxn ang="0">
                      <a:pos x="1138" y="1056"/>
                    </a:cxn>
                    <a:cxn ang="0">
                      <a:pos x="1284" y="1500"/>
                    </a:cxn>
                    <a:cxn ang="0">
                      <a:pos x="1334" y="1528"/>
                    </a:cxn>
                    <a:cxn ang="0">
                      <a:pos x="1406" y="1536"/>
                    </a:cxn>
                    <a:cxn ang="0">
                      <a:pos x="1458" y="1516"/>
                    </a:cxn>
                    <a:cxn ang="0">
                      <a:pos x="1542" y="1592"/>
                    </a:cxn>
                    <a:cxn ang="0">
                      <a:pos x="1626" y="1714"/>
                    </a:cxn>
                    <a:cxn ang="0">
                      <a:pos x="1680" y="1650"/>
                    </a:cxn>
                    <a:cxn ang="0">
                      <a:pos x="1618" y="1546"/>
                    </a:cxn>
                    <a:cxn ang="0">
                      <a:pos x="1560" y="1404"/>
                    </a:cxn>
                    <a:cxn ang="0">
                      <a:pos x="1616" y="1378"/>
                    </a:cxn>
                    <a:cxn ang="0">
                      <a:pos x="1634" y="1294"/>
                    </a:cxn>
                    <a:cxn ang="0">
                      <a:pos x="1706" y="1248"/>
                    </a:cxn>
                    <a:cxn ang="0">
                      <a:pos x="1726" y="1166"/>
                    </a:cxn>
                    <a:cxn ang="0">
                      <a:pos x="1702" y="1004"/>
                    </a:cxn>
                    <a:cxn ang="0">
                      <a:pos x="1528" y="790"/>
                    </a:cxn>
                    <a:cxn ang="0">
                      <a:pos x="1758" y="718"/>
                    </a:cxn>
                    <a:cxn ang="0">
                      <a:pos x="1830" y="612"/>
                    </a:cxn>
                    <a:cxn ang="0">
                      <a:pos x="1868" y="536"/>
                    </a:cxn>
                    <a:cxn ang="0">
                      <a:pos x="1876" y="472"/>
                    </a:cxn>
                    <a:cxn ang="0">
                      <a:pos x="1898" y="394"/>
                    </a:cxn>
                    <a:cxn ang="0">
                      <a:pos x="1964" y="304"/>
                    </a:cxn>
                    <a:cxn ang="0">
                      <a:pos x="2020" y="236"/>
                    </a:cxn>
                    <a:cxn ang="0">
                      <a:pos x="1040" y="574"/>
                    </a:cxn>
                  </a:cxnLst>
                  <a:rect l="0" t="0" r="r" b="b"/>
                  <a:pathLst>
                    <a:path w="2090" h="1714">
                      <a:moveTo>
                        <a:pt x="2088" y="78"/>
                      </a:moveTo>
                      <a:lnTo>
                        <a:pt x="2070" y="44"/>
                      </a:lnTo>
                      <a:lnTo>
                        <a:pt x="2028" y="16"/>
                      </a:lnTo>
                      <a:lnTo>
                        <a:pt x="1964" y="4"/>
                      </a:lnTo>
                      <a:lnTo>
                        <a:pt x="1896" y="0"/>
                      </a:lnTo>
                      <a:lnTo>
                        <a:pt x="1896" y="0"/>
                      </a:lnTo>
                      <a:lnTo>
                        <a:pt x="1876" y="2"/>
                      </a:lnTo>
                      <a:lnTo>
                        <a:pt x="1852" y="4"/>
                      </a:lnTo>
                      <a:lnTo>
                        <a:pt x="1822" y="10"/>
                      </a:lnTo>
                      <a:lnTo>
                        <a:pt x="1784" y="18"/>
                      </a:lnTo>
                      <a:lnTo>
                        <a:pt x="1740" y="30"/>
                      </a:lnTo>
                      <a:lnTo>
                        <a:pt x="1694" y="46"/>
                      </a:lnTo>
                      <a:lnTo>
                        <a:pt x="1642" y="66"/>
                      </a:lnTo>
                      <a:lnTo>
                        <a:pt x="1642" y="66"/>
                      </a:lnTo>
                      <a:lnTo>
                        <a:pt x="1592" y="92"/>
                      </a:lnTo>
                      <a:lnTo>
                        <a:pt x="1544" y="118"/>
                      </a:lnTo>
                      <a:lnTo>
                        <a:pt x="1498" y="148"/>
                      </a:lnTo>
                      <a:lnTo>
                        <a:pt x="1454" y="180"/>
                      </a:lnTo>
                      <a:lnTo>
                        <a:pt x="1410" y="216"/>
                      </a:lnTo>
                      <a:lnTo>
                        <a:pt x="1368" y="254"/>
                      </a:lnTo>
                      <a:lnTo>
                        <a:pt x="1328" y="296"/>
                      </a:lnTo>
                      <a:lnTo>
                        <a:pt x="1286" y="342"/>
                      </a:lnTo>
                      <a:lnTo>
                        <a:pt x="1286" y="342"/>
                      </a:lnTo>
                      <a:lnTo>
                        <a:pt x="1254" y="380"/>
                      </a:lnTo>
                      <a:lnTo>
                        <a:pt x="1224" y="420"/>
                      </a:lnTo>
                      <a:lnTo>
                        <a:pt x="1196" y="462"/>
                      </a:lnTo>
                      <a:lnTo>
                        <a:pt x="1170" y="504"/>
                      </a:lnTo>
                      <a:lnTo>
                        <a:pt x="1124" y="578"/>
                      </a:lnTo>
                      <a:lnTo>
                        <a:pt x="1096" y="632"/>
                      </a:lnTo>
                      <a:lnTo>
                        <a:pt x="1096" y="632"/>
                      </a:lnTo>
                      <a:lnTo>
                        <a:pt x="1092" y="622"/>
                      </a:lnTo>
                      <a:lnTo>
                        <a:pt x="1082" y="608"/>
                      </a:lnTo>
                      <a:lnTo>
                        <a:pt x="1082" y="608"/>
                      </a:lnTo>
                      <a:lnTo>
                        <a:pt x="1086" y="600"/>
                      </a:lnTo>
                      <a:lnTo>
                        <a:pt x="1088" y="592"/>
                      </a:lnTo>
                      <a:lnTo>
                        <a:pt x="1088" y="592"/>
                      </a:lnTo>
                      <a:lnTo>
                        <a:pt x="1086" y="584"/>
                      </a:lnTo>
                      <a:lnTo>
                        <a:pt x="1082" y="576"/>
                      </a:lnTo>
                      <a:lnTo>
                        <a:pt x="1074" y="572"/>
                      </a:lnTo>
                      <a:lnTo>
                        <a:pt x="1066" y="570"/>
                      </a:lnTo>
                      <a:lnTo>
                        <a:pt x="1066" y="570"/>
                      </a:lnTo>
                      <a:lnTo>
                        <a:pt x="1064" y="570"/>
                      </a:lnTo>
                      <a:lnTo>
                        <a:pt x="1066" y="564"/>
                      </a:lnTo>
                      <a:lnTo>
                        <a:pt x="1060" y="564"/>
                      </a:lnTo>
                      <a:lnTo>
                        <a:pt x="1056" y="564"/>
                      </a:lnTo>
                      <a:lnTo>
                        <a:pt x="1056" y="564"/>
                      </a:lnTo>
                      <a:lnTo>
                        <a:pt x="1050" y="558"/>
                      </a:lnTo>
                      <a:lnTo>
                        <a:pt x="1048" y="560"/>
                      </a:lnTo>
                      <a:lnTo>
                        <a:pt x="1048" y="558"/>
                      </a:lnTo>
                      <a:lnTo>
                        <a:pt x="1044" y="562"/>
                      </a:lnTo>
                      <a:lnTo>
                        <a:pt x="1038" y="560"/>
                      </a:lnTo>
                      <a:lnTo>
                        <a:pt x="1038" y="564"/>
                      </a:lnTo>
                      <a:lnTo>
                        <a:pt x="1034" y="564"/>
                      </a:lnTo>
                      <a:lnTo>
                        <a:pt x="1030" y="564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34" y="572"/>
                      </a:lnTo>
                      <a:lnTo>
                        <a:pt x="1026" y="570"/>
                      </a:lnTo>
                      <a:lnTo>
                        <a:pt x="1026" y="570"/>
                      </a:lnTo>
                      <a:lnTo>
                        <a:pt x="1016" y="572"/>
                      </a:lnTo>
                      <a:lnTo>
                        <a:pt x="1010" y="576"/>
                      </a:lnTo>
                      <a:lnTo>
                        <a:pt x="1004" y="584"/>
                      </a:lnTo>
                      <a:lnTo>
                        <a:pt x="1004" y="592"/>
                      </a:lnTo>
                      <a:lnTo>
                        <a:pt x="1004" y="592"/>
                      </a:lnTo>
                      <a:lnTo>
                        <a:pt x="1004" y="598"/>
                      </a:lnTo>
                      <a:lnTo>
                        <a:pt x="1008" y="604"/>
                      </a:lnTo>
                      <a:lnTo>
                        <a:pt x="1008" y="604"/>
                      </a:lnTo>
                      <a:lnTo>
                        <a:pt x="998" y="618"/>
                      </a:lnTo>
                      <a:lnTo>
                        <a:pt x="992" y="628"/>
                      </a:lnTo>
                      <a:lnTo>
                        <a:pt x="992" y="628"/>
                      </a:lnTo>
                      <a:lnTo>
                        <a:pt x="962" y="574"/>
                      </a:lnTo>
                      <a:lnTo>
                        <a:pt x="918" y="500"/>
                      </a:lnTo>
                      <a:lnTo>
                        <a:pt x="892" y="460"/>
                      </a:lnTo>
                      <a:lnTo>
                        <a:pt x="864" y="420"/>
                      </a:lnTo>
                      <a:lnTo>
                        <a:pt x="834" y="378"/>
                      </a:lnTo>
                      <a:lnTo>
                        <a:pt x="802" y="342"/>
                      </a:lnTo>
                      <a:lnTo>
                        <a:pt x="802" y="342"/>
                      </a:lnTo>
                      <a:lnTo>
                        <a:pt x="762" y="296"/>
                      </a:lnTo>
                      <a:lnTo>
                        <a:pt x="720" y="254"/>
                      </a:lnTo>
                      <a:lnTo>
                        <a:pt x="680" y="216"/>
                      </a:lnTo>
                      <a:lnTo>
                        <a:pt x="636" y="180"/>
                      </a:lnTo>
                      <a:lnTo>
                        <a:pt x="592" y="148"/>
                      </a:lnTo>
                      <a:lnTo>
                        <a:pt x="546" y="118"/>
                      </a:lnTo>
                      <a:lnTo>
                        <a:pt x="498" y="92"/>
                      </a:lnTo>
                      <a:lnTo>
                        <a:pt x="448" y="66"/>
                      </a:lnTo>
                      <a:lnTo>
                        <a:pt x="448" y="66"/>
                      </a:lnTo>
                      <a:lnTo>
                        <a:pt x="396" y="46"/>
                      </a:lnTo>
                      <a:lnTo>
                        <a:pt x="348" y="30"/>
                      </a:lnTo>
                      <a:lnTo>
                        <a:pt x="306" y="18"/>
                      </a:lnTo>
                      <a:lnTo>
                        <a:pt x="268" y="10"/>
                      </a:lnTo>
                      <a:lnTo>
                        <a:pt x="238" y="4"/>
                      </a:lnTo>
                      <a:lnTo>
                        <a:pt x="214" y="2"/>
                      </a:lnTo>
                      <a:lnTo>
                        <a:pt x="194" y="0"/>
                      </a:lnTo>
                      <a:lnTo>
                        <a:pt x="126" y="4"/>
                      </a:lnTo>
                      <a:lnTo>
                        <a:pt x="62" y="16"/>
                      </a:lnTo>
                      <a:lnTo>
                        <a:pt x="20" y="44"/>
                      </a:lnTo>
                      <a:lnTo>
                        <a:pt x="2" y="78"/>
                      </a:lnTo>
                      <a:lnTo>
                        <a:pt x="0" y="112"/>
                      </a:lnTo>
                      <a:lnTo>
                        <a:pt x="12" y="154"/>
                      </a:lnTo>
                      <a:lnTo>
                        <a:pt x="34" y="198"/>
                      </a:lnTo>
                      <a:lnTo>
                        <a:pt x="34" y="198"/>
                      </a:lnTo>
                      <a:lnTo>
                        <a:pt x="44" y="214"/>
                      </a:lnTo>
                      <a:lnTo>
                        <a:pt x="56" y="226"/>
                      </a:lnTo>
                      <a:lnTo>
                        <a:pt x="60" y="232"/>
                      </a:lnTo>
                      <a:lnTo>
                        <a:pt x="66" y="234"/>
                      </a:lnTo>
                      <a:lnTo>
                        <a:pt x="66" y="234"/>
                      </a:lnTo>
                      <a:lnTo>
                        <a:pt x="70" y="236"/>
                      </a:lnTo>
                      <a:lnTo>
                        <a:pt x="74" y="240"/>
                      </a:lnTo>
                      <a:lnTo>
                        <a:pt x="80" y="252"/>
                      </a:lnTo>
                      <a:lnTo>
                        <a:pt x="86" y="264"/>
                      </a:lnTo>
                      <a:lnTo>
                        <a:pt x="86" y="264"/>
                      </a:lnTo>
                      <a:lnTo>
                        <a:pt x="94" y="278"/>
                      </a:lnTo>
                      <a:lnTo>
                        <a:pt x="104" y="290"/>
                      </a:lnTo>
                      <a:lnTo>
                        <a:pt x="112" y="296"/>
                      </a:lnTo>
                      <a:lnTo>
                        <a:pt x="118" y="300"/>
                      </a:lnTo>
                      <a:lnTo>
                        <a:pt x="118" y="300"/>
                      </a:lnTo>
                      <a:lnTo>
                        <a:pt x="126" y="304"/>
                      </a:lnTo>
                      <a:lnTo>
                        <a:pt x="132" y="310"/>
                      </a:lnTo>
                      <a:lnTo>
                        <a:pt x="146" y="324"/>
                      </a:lnTo>
                      <a:lnTo>
                        <a:pt x="156" y="340"/>
                      </a:lnTo>
                      <a:lnTo>
                        <a:pt x="160" y="350"/>
                      </a:lnTo>
                      <a:lnTo>
                        <a:pt x="160" y="350"/>
                      </a:lnTo>
                      <a:lnTo>
                        <a:pt x="160" y="354"/>
                      </a:lnTo>
                      <a:lnTo>
                        <a:pt x="164" y="360"/>
                      </a:lnTo>
                      <a:lnTo>
                        <a:pt x="176" y="374"/>
                      </a:lnTo>
                      <a:lnTo>
                        <a:pt x="192" y="394"/>
                      </a:lnTo>
                      <a:lnTo>
                        <a:pt x="192" y="394"/>
                      </a:lnTo>
                      <a:lnTo>
                        <a:pt x="198" y="416"/>
                      </a:lnTo>
                      <a:lnTo>
                        <a:pt x="200" y="434"/>
                      </a:lnTo>
                      <a:lnTo>
                        <a:pt x="198" y="442"/>
                      </a:lnTo>
                      <a:lnTo>
                        <a:pt x="196" y="446"/>
                      </a:lnTo>
                      <a:lnTo>
                        <a:pt x="196" y="446"/>
                      </a:lnTo>
                      <a:lnTo>
                        <a:pt x="194" y="450"/>
                      </a:lnTo>
                      <a:lnTo>
                        <a:pt x="196" y="454"/>
                      </a:lnTo>
                      <a:lnTo>
                        <a:pt x="202" y="462"/>
                      </a:lnTo>
                      <a:lnTo>
                        <a:pt x="214" y="472"/>
                      </a:lnTo>
                      <a:lnTo>
                        <a:pt x="214" y="472"/>
                      </a:lnTo>
                      <a:lnTo>
                        <a:pt x="216" y="476"/>
                      </a:lnTo>
                      <a:lnTo>
                        <a:pt x="222" y="486"/>
                      </a:lnTo>
                      <a:lnTo>
                        <a:pt x="224" y="492"/>
                      </a:lnTo>
                      <a:lnTo>
                        <a:pt x="226" y="498"/>
                      </a:lnTo>
                      <a:lnTo>
                        <a:pt x="226" y="506"/>
                      </a:lnTo>
                      <a:lnTo>
                        <a:pt x="222" y="512"/>
                      </a:lnTo>
                      <a:lnTo>
                        <a:pt x="222" y="512"/>
                      </a:lnTo>
                      <a:lnTo>
                        <a:pt x="220" y="518"/>
                      </a:lnTo>
                      <a:lnTo>
                        <a:pt x="220" y="526"/>
                      </a:lnTo>
                      <a:lnTo>
                        <a:pt x="222" y="536"/>
                      </a:lnTo>
                      <a:lnTo>
                        <a:pt x="226" y="546"/>
                      </a:lnTo>
                      <a:lnTo>
                        <a:pt x="236" y="564"/>
                      </a:lnTo>
                      <a:lnTo>
                        <a:pt x="240" y="572"/>
                      </a:lnTo>
                      <a:lnTo>
                        <a:pt x="244" y="574"/>
                      </a:lnTo>
                      <a:lnTo>
                        <a:pt x="244" y="574"/>
                      </a:lnTo>
                      <a:lnTo>
                        <a:pt x="248" y="578"/>
                      </a:lnTo>
                      <a:lnTo>
                        <a:pt x="250" y="582"/>
                      </a:lnTo>
                      <a:lnTo>
                        <a:pt x="256" y="594"/>
                      </a:lnTo>
                      <a:lnTo>
                        <a:pt x="260" y="612"/>
                      </a:lnTo>
                      <a:lnTo>
                        <a:pt x="260" y="612"/>
                      </a:lnTo>
                      <a:lnTo>
                        <a:pt x="260" y="614"/>
                      </a:lnTo>
                      <a:lnTo>
                        <a:pt x="264" y="624"/>
                      </a:lnTo>
                      <a:lnTo>
                        <a:pt x="272" y="640"/>
                      </a:lnTo>
                      <a:lnTo>
                        <a:pt x="288" y="660"/>
                      </a:lnTo>
                      <a:lnTo>
                        <a:pt x="288" y="660"/>
                      </a:lnTo>
                      <a:lnTo>
                        <a:pt x="304" y="680"/>
                      </a:lnTo>
                      <a:lnTo>
                        <a:pt x="314" y="694"/>
                      </a:lnTo>
                      <a:lnTo>
                        <a:pt x="328" y="714"/>
                      </a:lnTo>
                      <a:lnTo>
                        <a:pt x="328" y="714"/>
                      </a:lnTo>
                      <a:lnTo>
                        <a:pt x="332" y="718"/>
                      </a:lnTo>
                      <a:lnTo>
                        <a:pt x="338" y="724"/>
                      </a:lnTo>
                      <a:lnTo>
                        <a:pt x="356" y="732"/>
                      </a:lnTo>
                      <a:lnTo>
                        <a:pt x="378" y="740"/>
                      </a:lnTo>
                      <a:lnTo>
                        <a:pt x="430" y="746"/>
                      </a:lnTo>
                      <a:lnTo>
                        <a:pt x="484" y="746"/>
                      </a:lnTo>
                      <a:lnTo>
                        <a:pt x="534" y="746"/>
                      </a:lnTo>
                      <a:lnTo>
                        <a:pt x="604" y="752"/>
                      </a:lnTo>
                      <a:lnTo>
                        <a:pt x="622" y="754"/>
                      </a:lnTo>
                      <a:lnTo>
                        <a:pt x="622" y="754"/>
                      </a:lnTo>
                      <a:lnTo>
                        <a:pt x="562" y="790"/>
                      </a:lnTo>
                      <a:lnTo>
                        <a:pt x="518" y="820"/>
                      </a:lnTo>
                      <a:lnTo>
                        <a:pt x="488" y="842"/>
                      </a:lnTo>
                      <a:lnTo>
                        <a:pt x="470" y="858"/>
                      </a:lnTo>
                      <a:lnTo>
                        <a:pt x="462" y="868"/>
                      </a:lnTo>
                      <a:lnTo>
                        <a:pt x="458" y="874"/>
                      </a:lnTo>
                      <a:lnTo>
                        <a:pt x="458" y="876"/>
                      </a:lnTo>
                      <a:lnTo>
                        <a:pt x="458" y="878"/>
                      </a:lnTo>
                      <a:lnTo>
                        <a:pt x="384" y="988"/>
                      </a:lnTo>
                      <a:lnTo>
                        <a:pt x="388" y="1004"/>
                      </a:lnTo>
                      <a:lnTo>
                        <a:pt x="384" y="1022"/>
                      </a:lnTo>
                      <a:lnTo>
                        <a:pt x="366" y="1052"/>
                      </a:lnTo>
                      <a:lnTo>
                        <a:pt x="354" y="1078"/>
                      </a:lnTo>
                      <a:lnTo>
                        <a:pt x="342" y="1124"/>
                      </a:lnTo>
                      <a:lnTo>
                        <a:pt x="342" y="1124"/>
                      </a:lnTo>
                      <a:lnTo>
                        <a:pt x="342" y="1130"/>
                      </a:lnTo>
                      <a:lnTo>
                        <a:pt x="344" y="1142"/>
                      </a:lnTo>
                      <a:lnTo>
                        <a:pt x="348" y="1148"/>
                      </a:lnTo>
                      <a:lnTo>
                        <a:pt x="350" y="1156"/>
                      </a:lnTo>
                      <a:lnTo>
                        <a:pt x="356" y="1162"/>
                      </a:lnTo>
                      <a:lnTo>
                        <a:pt x="364" y="1166"/>
                      </a:lnTo>
                      <a:lnTo>
                        <a:pt x="364" y="1166"/>
                      </a:lnTo>
                      <a:lnTo>
                        <a:pt x="372" y="1170"/>
                      </a:lnTo>
                      <a:lnTo>
                        <a:pt x="376" y="1176"/>
                      </a:lnTo>
                      <a:lnTo>
                        <a:pt x="380" y="1184"/>
                      </a:lnTo>
                      <a:lnTo>
                        <a:pt x="382" y="1192"/>
                      </a:lnTo>
                      <a:lnTo>
                        <a:pt x="380" y="1206"/>
                      </a:lnTo>
                      <a:lnTo>
                        <a:pt x="380" y="1212"/>
                      </a:lnTo>
                      <a:lnTo>
                        <a:pt x="382" y="1244"/>
                      </a:lnTo>
                      <a:lnTo>
                        <a:pt x="382" y="1244"/>
                      </a:lnTo>
                      <a:lnTo>
                        <a:pt x="384" y="1248"/>
                      </a:lnTo>
                      <a:lnTo>
                        <a:pt x="392" y="1258"/>
                      </a:lnTo>
                      <a:lnTo>
                        <a:pt x="398" y="1264"/>
                      </a:lnTo>
                      <a:lnTo>
                        <a:pt x="406" y="1268"/>
                      </a:lnTo>
                      <a:lnTo>
                        <a:pt x="416" y="1272"/>
                      </a:lnTo>
                      <a:lnTo>
                        <a:pt x="428" y="1272"/>
                      </a:lnTo>
                      <a:lnTo>
                        <a:pt x="428" y="1272"/>
                      </a:lnTo>
                      <a:lnTo>
                        <a:pt x="440" y="1274"/>
                      </a:lnTo>
                      <a:lnTo>
                        <a:pt x="448" y="1280"/>
                      </a:lnTo>
                      <a:lnTo>
                        <a:pt x="452" y="1286"/>
                      </a:lnTo>
                      <a:lnTo>
                        <a:pt x="456" y="1294"/>
                      </a:lnTo>
                      <a:lnTo>
                        <a:pt x="458" y="1310"/>
                      </a:lnTo>
                      <a:lnTo>
                        <a:pt x="458" y="1316"/>
                      </a:lnTo>
                      <a:lnTo>
                        <a:pt x="458" y="1316"/>
                      </a:lnTo>
                      <a:lnTo>
                        <a:pt x="456" y="1338"/>
                      </a:lnTo>
                      <a:lnTo>
                        <a:pt x="458" y="1354"/>
                      </a:lnTo>
                      <a:lnTo>
                        <a:pt x="458" y="1360"/>
                      </a:lnTo>
                      <a:lnTo>
                        <a:pt x="460" y="1364"/>
                      </a:lnTo>
                      <a:lnTo>
                        <a:pt x="460" y="1364"/>
                      </a:lnTo>
                      <a:lnTo>
                        <a:pt x="468" y="1374"/>
                      </a:lnTo>
                      <a:lnTo>
                        <a:pt x="474" y="1378"/>
                      </a:lnTo>
                      <a:lnTo>
                        <a:pt x="486" y="1380"/>
                      </a:lnTo>
                      <a:lnTo>
                        <a:pt x="486" y="1380"/>
                      </a:lnTo>
                      <a:lnTo>
                        <a:pt x="502" y="1380"/>
                      </a:lnTo>
                      <a:lnTo>
                        <a:pt x="514" y="1384"/>
                      </a:lnTo>
                      <a:lnTo>
                        <a:pt x="522" y="1390"/>
                      </a:lnTo>
                      <a:lnTo>
                        <a:pt x="526" y="1394"/>
                      </a:lnTo>
                      <a:lnTo>
                        <a:pt x="526" y="1396"/>
                      </a:lnTo>
                      <a:lnTo>
                        <a:pt x="526" y="1396"/>
                      </a:lnTo>
                      <a:lnTo>
                        <a:pt x="526" y="1400"/>
                      </a:lnTo>
                      <a:lnTo>
                        <a:pt x="530" y="1404"/>
                      </a:lnTo>
                      <a:lnTo>
                        <a:pt x="532" y="1408"/>
                      </a:lnTo>
                      <a:lnTo>
                        <a:pt x="534" y="1414"/>
                      </a:lnTo>
                      <a:lnTo>
                        <a:pt x="536" y="1422"/>
                      </a:lnTo>
                      <a:lnTo>
                        <a:pt x="536" y="1432"/>
                      </a:lnTo>
                      <a:lnTo>
                        <a:pt x="532" y="1446"/>
                      </a:lnTo>
                      <a:lnTo>
                        <a:pt x="524" y="1462"/>
                      </a:lnTo>
                      <a:lnTo>
                        <a:pt x="524" y="1462"/>
                      </a:lnTo>
                      <a:lnTo>
                        <a:pt x="492" y="1522"/>
                      </a:lnTo>
                      <a:lnTo>
                        <a:pt x="478" y="1540"/>
                      </a:lnTo>
                      <a:lnTo>
                        <a:pt x="472" y="1546"/>
                      </a:lnTo>
                      <a:lnTo>
                        <a:pt x="466" y="1550"/>
                      </a:lnTo>
                      <a:lnTo>
                        <a:pt x="466" y="1550"/>
                      </a:lnTo>
                      <a:lnTo>
                        <a:pt x="460" y="1554"/>
                      </a:lnTo>
                      <a:lnTo>
                        <a:pt x="454" y="1560"/>
                      </a:lnTo>
                      <a:lnTo>
                        <a:pt x="440" y="1578"/>
                      </a:lnTo>
                      <a:lnTo>
                        <a:pt x="424" y="1604"/>
                      </a:lnTo>
                      <a:lnTo>
                        <a:pt x="424" y="1604"/>
                      </a:lnTo>
                      <a:lnTo>
                        <a:pt x="420" y="1614"/>
                      </a:lnTo>
                      <a:lnTo>
                        <a:pt x="412" y="1636"/>
                      </a:lnTo>
                      <a:lnTo>
                        <a:pt x="410" y="1650"/>
                      </a:lnTo>
                      <a:lnTo>
                        <a:pt x="408" y="1666"/>
                      </a:lnTo>
                      <a:lnTo>
                        <a:pt x="410" y="1680"/>
                      </a:lnTo>
                      <a:lnTo>
                        <a:pt x="414" y="1686"/>
                      </a:lnTo>
                      <a:lnTo>
                        <a:pt x="416" y="1692"/>
                      </a:lnTo>
                      <a:lnTo>
                        <a:pt x="416" y="1692"/>
                      </a:lnTo>
                      <a:lnTo>
                        <a:pt x="426" y="1702"/>
                      </a:lnTo>
                      <a:lnTo>
                        <a:pt x="438" y="1710"/>
                      </a:lnTo>
                      <a:lnTo>
                        <a:pt x="450" y="1714"/>
                      </a:lnTo>
                      <a:lnTo>
                        <a:pt x="456" y="1714"/>
                      </a:lnTo>
                      <a:lnTo>
                        <a:pt x="464" y="1714"/>
                      </a:lnTo>
                      <a:lnTo>
                        <a:pt x="470" y="1712"/>
                      </a:lnTo>
                      <a:lnTo>
                        <a:pt x="478" y="1710"/>
                      </a:lnTo>
                      <a:lnTo>
                        <a:pt x="486" y="1704"/>
                      </a:lnTo>
                      <a:lnTo>
                        <a:pt x="492" y="1698"/>
                      </a:lnTo>
                      <a:lnTo>
                        <a:pt x="500" y="1690"/>
                      </a:lnTo>
                      <a:lnTo>
                        <a:pt x="508" y="1678"/>
                      </a:lnTo>
                      <a:lnTo>
                        <a:pt x="514" y="1666"/>
                      </a:lnTo>
                      <a:lnTo>
                        <a:pt x="522" y="1650"/>
                      </a:lnTo>
                      <a:lnTo>
                        <a:pt x="522" y="1650"/>
                      </a:lnTo>
                      <a:lnTo>
                        <a:pt x="548" y="1592"/>
                      </a:lnTo>
                      <a:lnTo>
                        <a:pt x="568" y="1554"/>
                      </a:lnTo>
                      <a:lnTo>
                        <a:pt x="582" y="1532"/>
                      </a:lnTo>
                      <a:lnTo>
                        <a:pt x="586" y="1526"/>
                      </a:lnTo>
                      <a:lnTo>
                        <a:pt x="586" y="1526"/>
                      </a:lnTo>
                      <a:lnTo>
                        <a:pt x="590" y="1522"/>
                      </a:lnTo>
                      <a:lnTo>
                        <a:pt x="594" y="1518"/>
                      </a:lnTo>
                      <a:lnTo>
                        <a:pt x="600" y="1516"/>
                      </a:lnTo>
                      <a:lnTo>
                        <a:pt x="608" y="1514"/>
                      </a:lnTo>
                      <a:lnTo>
                        <a:pt x="620" y="1514"/>
                      </a:lnTo>
                      <a:lnTo>
                        <a:pt x="632" y="1516"/>
                      </a:lnTo>
                      <a:lnTo>
                        <a:pt x="648" y="1520"/>
                      </a:lnTo>
                      <a:lnTo>
                        <a:pt x="648" y="1520"/>
                      </a:lnTo>
                      <a:lnTo>
                        <a:pt x="662" y="1528"/>
                      </a:lnTo>
                      <a:lnTo>
                        <a:pt x="668" y="1532"/>
                      </a:lnTo>
                      <a:lnTo>
                        <a:pt x="670" y="1536"/>
                      </a:lnTo>
                      <a:lnTo>
                        <a:pt x="668" y="1536"/>
                      </a:lnTo>
                      <a:lnTo>
                        <a:pt x="664" y="1538"/>
                      </a:lnTo>
                      <a:lnTo>
                        <a:pt x="670" y="1538"/>
                      </a:lnTo>
                      <a:lnTo>
                        <a:pt x="670" y="1538"/>
                      </a:lnTo>
                      <a:lnTo>
                        <a:pt x="682" y="1536"/>
                      </a:lnTo>
                      <a:lnTo>
                        <a:pt x="692" y="1532"/>
                      </a:lnTo>
                      <a:lnTo>
                        <a:pt x="700" y="1528"/>
                      </a:lnTo>
                      <a:lnTo>
                        <a:pt x="700" y="1528"/>
                      </a:lnTo>
                      <a:lnTo>
                        <a:pt x="708" y="1522"/>
                      </a:lnTo>
                      <a:lnTo>
                        <a:pt x="716" y="1518"/>
                      </a:lnTo>
                      <a:lnTo>
                        <a:pt x="724" y="1516"/>
                      </a:lnTo>
                      <a:lnTo>
                        <a:pt x="724" y="1516"/>
                      </a:lnTo>
                      <a:lnTo>
                        <a:pt x="734" y="1518"/>
                      </a:lnTo>
                      <a:lnTo>
                        <a:pt x="744" y="1522"/>
                      </a:lnTo>
                      <a:lnTo>
                        <a:pt x="754" y="1528"/>
                      </a:lnTo>
                      <a:lnTo>
                        <a:pt x="754" y="1528"/>
                      </a:lnTo>
                      <a:lnTo>
                        <a:pt x="758" y="1530"/>
                      </a:lnTo>
                      <a:lnTo>
                        <a:pt x="768" y="1532"/>
                      </a:lnTo>
                      <a:lnTo>
                        <a:pt x="774" y="1532"/>
                      </a:lnTo>
                      <a:lnTo>
                        <a:pt x="780" y="1532"/>
                      </a:lnTo>
                      <a:lnTo>
                        <a:pt x="786" y="1528"/>
                      </a:lnTo>
                      <a:lnTo>
                        <a:pt x="794" y="1520"/>
                      </a:lnTo>
                      <a:lnTo>
                        <a:pt x="794" y="1520"/>
                      </a:lnTo>
                      <a:lnTo>
                        <a:pt x="800" y="1512"/>
                      </a:lnTo>
                      <a:lnTo>
                        <a:pt x="806" y="1500"/>
                      </a:lnTo>
                      <a:lnTo>
                        <a:pt x="812" y="1478"/>
                      </a:lnTo>
                      <a:lnTo>
                        <a:pt x="816" y="1458"/>
                      </a:lnTo>
                      <a:lnTo>
                        <a:pt x="816" y="1452"/>
                      </a:lnTo>
                      <a:lnTo>
                        <a:pt x="840" y="1406"/>
                      </a:lnTo>
                      <a:lnTo>
                        <a:pt x="844" y="1388"/>
                      </a:lnTo>
                      <a:lnTo>
                        <a:pt x="870" y="1386"/>
                      </a:lnTo>
                      <a:lnTo>
                        <a:pt x="894" y="1318"/>
                      </a:lnTo>
                      <a:lnTo>
                        <a:pt x="922" y="1204"/>
                      </a:lnTo>
                      <a:lnTo>
                        <a:pt x="952" y="1056"/>
                      </a:lnTo>
                      <a:lnTo>
                        <a:pt x="970" y="942"/>
                      </a:lnTo>
                      <a:lnTo>
                        <a:pt x="970" y="942"/>
                      </a:lnTo>
                      <a:lnTo>
                        <a:pt x="974" y="940"/>
                      </a:lnTo>
                      <a:lnTo>
                        <a:pt x="978" y="928"/>
                      </a:lnTo>
                      <a:lnTo>
                        <a:pt x="984" y="908"/>
                      </a:lnTo>
                      <a:lnTo>
                        <a:pt x="986" y="894"/>
                      </a:lnTo>
                      <a:lnTo>
                        <a:pt x="988" y="880"/>
                      </a:lnTo>
                      <a:lnTo>
                        <a:pt x="988" y="880"/>
                      </a:lnTo>
                      <a:lnTo>
                        <a:pt x="990" y="866"/>
                      </a:lnTo>
                      <a:lnTo>
                        <a:pt x="994" y="858"/>
                      </a:lnTo>
                      <a:lnTo>
                        <a:pt x="1000" y="856"/>
                      </a:lnTo>
                      <a:lnTo>
                        <a:pt x="1004" y="854"/>
                      </a:lnTo>
                      <a:lnTo>
                        <a:pt x="1004" y="880"/>
                      </a:lnTo>
                      <a:lnTo>
                        <a:pt x="996" y="942"/>
                      </a:lnTo>
                      <a:lnTo>
                        <a:pt x="998" y="962"/>
                      </a:lnTo>
                      <a:lnTo>
                        <a:pt x="990" y="990"/>
                      </a:lnTo>
                      <a:lnTo>
                        <a:pt x="990" y="1034"/>
                      </a:lnTo>
                      <a:lnTo>
                        <a:pt x="990" y="1046"/>
                      </a:lnTo>
                      <a:lnTo>
                        <a:pt x="990" y="1108"/>
                      </a:lnTo>
                      <a:lnTo>
                        <a:pt x="998" y="1112"/>
                      </a:lnTo>
                      <a:lnTo>
                        <a:pt x="998" y="1122"/>
                      </a:lnTo>
                      <a:lnTo>
                        <a:pt x="990" y="1130"/>
                      </a:lnTo>
                      <a:lnTo>
                        <a:pt x="992" y="1160"/>
                      </a:lnTo>
                      <a:lnTo>
                        <a:pt x="992" y="1208"/>
                      </a:lnTo>
                      <a:lnTo>
                        <a:pt x="1010" y="1248"/>
                      </a:lnTo>
                      <a:lnTo>
                        <a:pt x="1040" y="1274"/>
                      </a:lnTo>
                      <a:lnTo>
                        <a:pt x="1044" y="1246"/>
                      </a:lnTo>
                      <a:lnTo>
                        <a:pt x="1048" y="1274"/>
                      </a:lnTo>
                      <a:lnTo>
                        <a:pt x="1078" y="1248"/>
                      </a:lnTo>
                      <a:lnTo>
                        <a:pt x="1096" y="1208"/>
                      </a:lnTo>
                      <a:lnTo>
                        <a:pt x="1096" y="1160"/>
                      </a:lnTo>
                      <a:lnTo>
                        <a:pt x="1098" y="1130"/>
                      </a:lnTo>
                      <a:lnTo>
                        <a:pt x="1088" y="1122"/>
                      </a:lnTo>
                      <a:lnTo>
                        <a:pt x="1088" y="1112"/>
                      </a:lnTo>
                      <a:lnTo>
                        <a:pt x="1098" y="1108"/>
                      </a:lnTo>
                      <a:lnTo>
                        <a:pt x="1098" y="1046"/>
                      </a:lnTo>
                      <a:lnTo>
                        <a:pt x="1098" y="1034"/>
                      </a:lnTo>
                      <a:lnTo>
                        <a:pt x="1098" y="990"/>
                      </a:lnTo>
                      <a:lnTo>
                        <a:pt x="1088" y="962"/>
                      </a:lnTo>
                      <a:lnTo>
                        <a:pt x="1090" y="942"/>
                      </a:lnTo>
                      <a:lnTo>
                        <a:pt x="1084" y="880"/>
                      </a:lnTo>
                      <a:lnTo>
                        <a:pt x="1082" y="856"/>
                      </a:lnTo>
                      <a:lnTo>
                        <a:pt x="1082" y="856"/>
                      </a:lnTo>
                      <a:lnTo>
                        <a:pt x="1088" y="854"/>
                      </a:lnTo>
                      <a:lnTo>
                        <a:pt x="1094" y="858"/>
                      </a:lnTo>
                      <a:lnTo>
                        <a:pt x="1100" y="866"/>
                      </a:lnTo>
                      <a:lnTo>
                        <a:pt x="1102" y="880"/>
                      </a:lnTo>
                      <a:lnTo>
                        <a:pt x="1102" y="880"/>
                      </a:lnTo>
                      <a:lnTo>
                        <a:pt x="1102" y="894"/>
                      </a:lnTo>
                      <a:lnTo>
                        <a:pt x="1106" y="908"/>
                      </a:lnTo>
                      <a:lnTo>
                        <a:pt x="1112" y="928"/>
                      </a:lnTo>
                      <a:lnTo>
                        <a:pt x="1116" y="940"/>
                      </a:lnTo>
                      <a:lnTo>
                        <a:pt x="1120" y="942"/>
                      </a:lnTo>
                      <a:lnTo>
                        <a:pt x="1138" y="1056"/>
                      </a:lnTo>
                      <a:lnTo>
                        <a:pt x="1168" y="1204"/>
                      </a:lnTo>
                      <a:lnTo>
                        <a:pt x="1196" y="1318"/>
                      </a:lnTo>
                      <a:lnTo>
                        <a:pt x="1220" y="1386"/>
                      </a:lnTo>
                      <a:lnTo>
                        <a:pt x="1246" y="1388"/>
                      </a:lnTo>
                      <a:lnTo>
                        <a:pt x="1250" y="1406"/>
                      </a:lnTo>
                      <a:lnTo>
                        <a:pt x="1274" y="1452"/>
                      </a:lnTo>
                      <a:lnTo>
                        <a:pt x="1274" y="1452"/>
                      </a:lnTo>
                      <a:lnTo>
                        <a:pt x="1274" y="1458"/>
                      </a:lnTo>
                      <a:lnTo>
                        <a:pt x="1278" y="1478"/>
                      </a:lnTo>
                      <a:lnTo>
                        <a:pt x="1284" y="1500"/>
                      </a:lnTo>
                      <a:lnTo>
                        <a:pt x="1290" y="1512"/>
                      </a:lnTo>
                      <a:lnTo>
                        <a:pt x="1296" y="1520"/>
                      </a:lnTo>
                      <a:lnTo>
                        <a:pt x="1296" y="1520"/>
                      </a:lnTo>
                      <a:lnTo>
                        <a:pt x="1304" y="1528"/>
                      </a:lnTo>
                      <a:lnTo>
                        <a:pt x="1310" y="1532"/>
                      </a:lnTo>
                      <a:lnTo>
                        <a:pt x="1316" y="1532"/>
                      </a:lnTo>
                      <a:lnTo>
                        <a:pt x="1322" y="1532"/>
                      </a:lnTo>
                      <a:lnTo>
                        <a:pt x="1332" y="1530"/>
                      </a:lnTo>
                      <a:lnTo>
                        <a:pt x="1334" y="1528"/>
                      </a:lnTo>
                      <a:lnTo>
                        <a:pt x="1334" y="1528"/>
                      </a:lnTo>
                      <a:lnTo>
                        <a:pt x="1346" y="1522"/>
                      </a:lnTo>
                      <a:lnTo>
                        <a:pt x="1356" y="1518"/>
                      </a:lnTo>
                      <a:lnTo>
                        <a:pt x="1366" y="1516"/>
                      </a:lnTo>
                      <a:lnTo>
                        <a:pt x="1366" y="1516"/>
                      </a:lnTo>
                      <a:lnTo>
                        <a:pt x="1374" y="1518"/>
                      </a:lnTo>
                      <a:lnTo>
                        <a:pt x="1382" y="1522"/>
                      </a:lnTo>
                      <a:lnTo>
                        <a:pt x="1390" y="1528"/>
                      </a:lnTo>
                      <a:lnTo>
                        <a:pt x="1390" y="1528"/>
                      </a:lnTo>
                      <a:lnTo>
                        <a:pt x="1398" y="1532"/>
                      </a:lnTo>
                      <a:lnTo>
                        <a:pt x="1406" y="1536"/>
                      </a:lnTo>
                      <a:lnTo>
                        <a:pt x="1420" y="1538"/>
                      </a:lnTo>
                      <a:lnTo>
                        <a:pt x="1420" y="1538"/>
                      </a:lnTo>
                      <a:lnTo>
                        <a:pt x="1426" y="1538"/>
                      </a:lnTo>
                      <a:lnTo>
                        <a:pt x="1422" y="1536"/>
                      </a:lnTo>
                      <a:lnTo>
                        <a:pt x="1420" y="1536"/>
                      </a:lnTo>
                      <a:lnTo>
                        <a:pt x="1422" y="1532"/>
                      </a:lnTo>
                      <a:lnTo>
                        <a:pt x="1428" y="1528"/>
                      </a:lnTo>
                      <a:lnTo>
                        <a:pt x="1442" y="1520"/>
                      </a:lnTo>
                      <a:lnTo>
                        <a:pt x="1442" y="1520"/>
                      </a:lnTo>
                      <a:lnTo>
                        <a:pt x="1458" y="1516"/>
                      </a:lnTo>
                      <a:lnTo>
                        <a:pt x="1470" y="1514"/>
                      </a:lnTo>
                      <a:lnTo>
                        <a:pt x="1482" y="1514"/>
                      </a:lnTo>
                      <a:lnTo>
                        <a:pt x="1490" y="1516"/>
                      </a:lnTo>
                      <a:lnTo>
                        <a:pt x="1496" y="1518"/>
                      </a:lnTo>
                      <a:lnTo>
                        <a:pt x="1500" y="1522"/>
                      </a:lnTo>
                      <a:lnTo>
                        <a:pt x="1502" y="1526"/>
                      </a:lnTo>
                      <a:lnTo>
                        <a:pt x="1502" y="1526"/>
                      </a:lnTo>
                      <a:lnTo>
                        <a:pt x="1508" y="1532"/>
                      </a:lnTo>
                      <a:lnTo>
                        <a:pt x="1522" y="1554"/>
                      </a:lnTo>
                      <a:lnTo>
                        <a:pt x="1542" y="1592"/>
                      </a:lnTo>
                      <a:lnTo>
                        <a:pt x="1568" y="1650"/>
                      </a:lnTo>
                      <a:lnTo>
                        <a:pt x="1568" y="1650"/>
                      </a:lnTo>
                      <a:lnTo>
                        <a:pt x="1576" y="1666"/>
                      </a:lnTo>
                      <a:lnTo>
                        <a:pt x="1582" y="1678"/>
                      </a:lnTo>
                      <a:lnTo>
                        <a:pt x="1590" y="1690"/>
                      </a:lnTo>
                      <a:lnTo>
                        <a:pt x="1598" y="1698"/>
                      </a:lnTo>
                      <a:lnTo>
                        <a:pt x="1604" y="1704"/>
                      </a:lnTo>
                      <a:lnTo>
                        <a:pt x="1612" y="1710"/>
                      </a:lnTo>
                      <a:lnTo>
                        <a:pt x="1620" y="1712"/>
                      </a:lnTo>
                      <a:lnTo>
                        <a:pt x="1626" y="1714"/>
                      </a:lnTo>
                      <a:lnTo>
                        <a:pt x="1634" y="1714"/>
                      </a:lnTo>
                      <a:lnTo>
                        <a:pt x="1640" y="1714"/>
                      </a:lnTo>
                      <a:lnTo>
                        <a:pt x="1652" y="1710"/>
                      </a:lnTo>
                      <a:lnTo>
                        <a:pt x="1664" y="1702"/>
                      </a:lnTo>
                      <a:lnTo>
                        <a:pt x="1672" y="1692"/>
                      </a:lnTo>
                      <a:lnTo>
                        <a:pt x="1672" y="1692"/>
                      </a:lnTo>
                      <a:lnTo>
                        <a:pt x="1676" y="1686"/>
                      </a:lnTo>
                      <a:lnTo>
                        <a:pt x="1678" y="1680"/>
                      </a:lnTo>
                      <a:lnTo>
                        <a:pt x="1682" y="1666"/>
                      </a:lnTo>
                      <a:lnTo>
                        <a:pt x="1680" y="1650"/>
                      </a:lnTo>
                      <a:lnTo>
                        <a:pt x="1678" y="1636"/>
                      </a:lnTo>
                      <a:lnTo>
                        <a:pt x="1670" y="1614"/>
                      </a:lnTo>
                      <a:lnTo>
                        <a:pt x="1666" y="1604"/>
                      </a:lnTo>
                      <a:lnTo>
                        <a:pt x="1666" y="1604"/>
                      </a:lnTo>
                      <a:lnTo>
                        <a:pt x="1650" y="1578"/>
                      </a:lnTo>
                      <a:lnTo>
                        <a:pt x="1636" y="1560"/>
                      </a:lnTo>
                      <a:lnTo>
                        <a:pt x="1630" y="1554"/>
                      </a:lnTo>
                      <a:lnTo>
                        <a:pt x="1622" y="1550"/>
                      </a:lnTo>
                      <a:lnTo>
                        <a:pt x="1622" y="1550"/>
                      </a:lnTo>
                      <a:lnTo>
                        <a:pt x="1618" y="1546"/>
                      </a:lnTo>
                      <a:lnTo>
                        <a:pt x="1612" y="1540"/>
                      </a:lnTo>
                      <a:lnTo>
                        <a:pt x="1598" y="1522"/>
                      </a:lnTo>
                      <a:lnTo>
                        <a:pt x="1566" y="1462"/>
                      </a:lnTo>
                      <a:lnTo>
                        <a:pt x="1566" y="1462"/>
                      </a:lnTo>
                      <a:lnTo>
                        <a:pt x="1558" y="1446"/>
                      </a:lnTo>
                      <a:lnTo>
                        <a:pt x="1554" y="1432"/>
                      </a:lnTo>
                      <a:lnTo>
                        <a:pt x="1554" y="1422"/>
                      </a:lnTo>
                      <a:lnTo>
                        <a:pt x="1556" y="1414"/>
                      </a:lnTo>
                      <a:lnTo>
                        <a:pt x="1558" y="1408"/>
                      </a:lnTo>
                      <a:lnTo>
                        <a:pt x="1560" y="1404"/>
                      </a:lnTo>
                      <a:lnTo>
                        <a:pt x="1562" y="1400"/>
                      </a:lnTo>
                      <a:lnTo>
                        <a:pt x="1564" y="1396"/>
                      </a:lnTo>
                      <a:lnTo>
                        <a:pt x="1564" y="1396"/>
                      </a:lnTo>
                      <a:lnTo>
                        <a:pt x="1564" y="1394"/>
                      </a:lnTo>
                      <a:lnTo>
                        <a:pt x="1566" y="1390"/>
                      </a:lnTo>
                      <a:lnTo>
                        <a:pt x="1576" y="1384"/>
                      </a:lnTo>
                      <a:lnTo>
                        <a:pt x="1588" y="1380"/>
                      </a:lnTo>
                      <a:lnTo>
                        <a:pt x="1604" y="1380"/>
                      </a:lnTo>
                      <a:lnTo>
                        <a:pt x="1604" y="1380"/>
                      </a:lnTo>
                      <a:lnTo>
                        <a:pt x="1616" y="1378"/>
                      </a:lnTo>
                      <a:lnTo>
                        <a:pt x="1622" y="1374"/>
                      </a:lnTo>
                      <a:lnTo>
                        <a:pt x="1630" y="1364"/>
                      </a:lnTo>
                      <a:lnTo>
                        <a:pt x="1630" y="1364"/>
                      </a:lnTo>
                      <a:lnTo>
                        <a:pt x="1632" y="1360"/>
                      </a:lnTo>
                      <a:lnTo>
                        <a:pt x="1632" y="1354"/>
                      </a:lnTo>
                      <a:lnTo>
                        <a:pt x="1632" y="1338"/>
                      </a:lnTo>
                      <a:lnTo>
                        <a:pt x="1632" y="1316"/>
                      </a:lnTo>
                      <a:lnTo>
                        <a:pt x="1632" y="1316"/>
                      </a:lnTo>
                      <a:lnTo>
                        <a:pt x="1632" y="1310"/>
                      </a:lnTo>
                      <a:lnTo>
                        <a:pt x="1634" y="1294"/>
                      </a:lnTo>
                      <a:lnTo>
                        <a:pt x="1638" y="1286"/>
                      </a:lnTo>
                      <a:lnTo>
                        <a:pt x="1642" y="1280"/>
                      </a:lnTo>
                      <a:lnTo>
                        <a:pt x="1650" y="1274"/>
                      </a:lnTo>
                      <a:lnTo>
                        <a:pt x="1662" y="1272"/>
                      </a:lnTo>
                      <a:lnTo>
                        <a:pt x="1662" y="1272"/>
                      </a:lnTo>
                      <a:lnTo>
                        <a:pt x="1674" y="1272"/>
                      </a:lnTo>
                      <a:lnTo>
                        <a:pt x="1684" y="1268"/>
                      </a:lnTo>
                      <a:lnTo>
                        <a:pt x="1692" y="1264"/>
                      </a:lnTo>
                      <a:lnTo>
                        <a:pt x="1698" y="1258"/>
                      </a:lnTo>
                      <a:lnTo>
                        <a:pt x="1706" y="1248"/>
                      </a:lnTo>
                      <a:lnTo>
                        <a:pt x="1708" y="1244"/>
                      </a:lnTo>
                      <a:lnTo>
                        <a:pt x="1710" y="1212"/>
                      </a:lnTo>
                      <a:lnTo>
                        <a:pt x="1710" y="1212"/>
                      </a:lnTo>
                      <a:lnTo>
                        <a:pt x="1710" y="1206"/>
                      </a:lnTo>
                      <a:lnTo>
                        <a:pt x="1708" y="1192"/>
                      </a:lnTo>
                      <a:lnTo>
                        <a:pt x="1710" y="1184"/>
                      </a:lnTo>
                      <a:lnTo>
                        <a:pt x="1712" y="1176"/>
                      </a:lnTo>
                      <a:lnTo>
                        <a:pt x="1718" y="1170"/>
                      </a:lnTo>
                      <a:lnTo>
                        <a:pt x="1726" y="1166"/>
                      </a:lnTo>
                      <a:lnTo>
                        <a:pt x="1726" y="1166"/>
                      </a:lnTo>
                      <a:lnTo>
                        <a:pt x="1734" y="1162"/>
                      </a:lnTo>
                      <a:lnTo>
                        <a:pt x="1738" y="1156"/>
                      </a:lnTo>
                      <a:lnTo>
                        <a:pt x="1742" y="1148"/>
                      </a:lnTo>
                      <a:lnTo>
                        <a:pt x="1746" y="1142"/>
                      </a:lnTo>
                      <a:lnTo>
                        <a:pt x="1748" y="1130"/>
                      </a:lnTo>
                      <a:lnTo>
                        <a:pt x="1748" y="1124"/>
                      </a:lnTo>
                      <a:lnTo>
                        <a:pt x="1736" y="1078"/>
                      </a:lnTo>
                      <a:lnTo>
                        <a:pt x="1724" y="1052"/>
                      </a:lnTo>
                      <a:lnTo>
                        <a:pt x="1706" y="1022"/>
                      </a:lnTo>
                      <a:lnTo>
                        <a:pt x="1702" y="1004"/>
                      </a:lnTo>
                      <a:lnTo>
                        <a:pt x="1706" y="988"/>
                      </a:lnTo>
                      <a:lnTo>
                        <a:pt x="1632" y="878"/>
                      </a:lnTo>
                      <a:lnTo>
                        <a:pt x="1632" y="878"/>
                      </a:lnTo>
                      <a:lnTo>
                        <a:pt x="1632" y="876"/>
                      </a:lnTo>
                      <a:lnTo>
                        <a:pt x="1632" y="874"/>
                      </a:lnTo>
                      <a:lnTo>
                        <a:pt x="1628" y="868"/>
                      </a:lnTo>
                      <a:lnTo>
                        <a:pt x="1620" y="858"/>
                      </a:lnTo>
                      <a:lnTo>
                        <a:pt x="1600" y="842"/>
                      </a:lnTo>
                      <a:lnTo>
                        <a:pt x="1572" y="820"/>
                      </a:lnTo>
                      <a:lnTo>
                        <a:pt x="1528" y="790"/>
                      </a:lnTo>
                      <a:lnTo>
                        <a:pt x="1466" y="754"/>
                      </a:lnTo>
                      <a:lnTo>
                        <a:pt x="1486" y="752"/>
                      </a:lnTo>
                      <a:lnTo>
                        <a:pt x="1556" y="746"/>
                      </a:lnTo>
                      <a:lnTo>
                        <a:pt x="1606" y="746"/>
                      </a:lnTo>
                      <a:lnTo>
                        <a:pt x="1660" y="746"/>
                      </a:lnTo>
                      <a:lnTo>
                        <a:pt x="1712" y="740"/>
                      </a:lnTo>
                      <a:lnTo>
                        <a:pt x="1712" y="740"/>
                      </a:lnTo>
                      <a:lnTo>
                        <a:pt x="1734" y="732"/>
                      </a:lnTo>
                      <a:lnTo>
                        <a:pt x="1750" y="724"/>
                      </a:lnTo>
                      <a:lnTo>
                        <a:pt x="1758" y="718"/>
                      </a:lnTo>
                      <a:lnTo>
                        <a:pt x="1762" y="714"/>
                      </a:lnTo>
                      <a:lnTo>
                        <a:pt x="1762" y="714"/>
                      </a:lnTo>
                      <a:lnTo>
                        <a:pt x="1776" y="694"/>
                      </a:lnTo>
                      <a:lnTo>
                        <a:pt x="1786" y="680"/>
                      </a:lnTo>
                      <a:lnTo>
                        <a:pt x="1802" y="660"/>
                      </a:lnTo>
                      <a:lnTo>
                        <a:pt x="1802" y="660"/>
                      </a:lnTo>
                      <a:lnTo>
                        <a:pt x="1818" y="640"/>
                      </a:lnTo>
                      <a:lnTo>
                        <a:pt x="1826" y="624"/>
                      </a:lnTo>
                      <a:lnTo>
                        <a:pt x="1830" y="614"/>
                      </a:lnTo>
                      <a:lnTo>
                        <a:pt x="1830" y="612"/>
                      </a:lnTo>
                      <a:lnTo>
                        <a:pt x="1830" y="612"/>
                      </a:lnTo>
                      <a:lnTo>
                        <a:pt x="1834" y="594"/>
                      </a:lnTo>
                      <a:lnTo>
                        <a:pt x="1840" y="582"/>
                      </a:lnTo>
                      <a:lnTo>
                        <a:pt x="1842" y="578"/>
                      </a:lnTo>
                      <a:lnTo>
                        <a:pt x="1846" y="574"/>
                      </a:lnTo>
                      <a:lnTo>
                        <a:pt x="1846" y="574"/>
                      </a:lnTo>
                      <a:lnTo>
                        <a:pt x="1850" y="572"/>
                      </a:lnTo>
                      <a:lnTo>
                        <a:pt x="1854" y="564"/>
                      </a:lnTo>
                      <a:lnTo>
                        <a:pt x="1864" y="546"/>
                      </a:lnTo>
                      <a:lnTo>
                        <a:pt x="1868" y="536"/>
                      </a:lnTo>
                      <a:lnTo>
                        <a:pt x="1870" y="526"/>
                      </a:lnTo>
                      <a:lnTo>
                        <a:pt x="1870" y="518"/>
                      </a:lnTo>
                      <a:lnTo>
                        <a:pt x="1868" y="512"/>
                      </a:lnTo>
                      <a:lnTo>
                        <a:pt x="1868" y="512"/>
                      </a:lnTo>
                      <a:lnTo>
                        <a:pt x="1864" y="506"/>
                      </a:lnTo>
                      <a:lnTo>
                        <a:pt x="1864" y="498"/>
                      </a:lnTo>
                      <a:lnTo>
                        <a:pt x="1866" y="492"/>
                      </a:lnTo>
                      <a:lnTo>
                        <a:pt x="1868" y="486"/>
                      </a:lnTo>
                      <a:lnTo>
                        <a:pt x="1872" y="476"/>
                      </a:lnTo>
                      <a:lnTo>
                        <a:pt x="1876" y="472"/>
                      </a:lnTo>
                      <a:lnTo>
                        <a:pt x="1876" y="472"/>
                      </a:lnTo>
                      <a:lnTo>
                        <a:pt x="1888" y="462"/>
                      </a:lnTo>
                      <a:lnTo>
                        <a:pt x="1894" y="454"/>
                      </a:lnTo>
                      <a:lnTo>
                        <a:pt x="1894" y="450"/>
                      </a:lnTo>
                      <a:lnTo>
                        <a:pt x="1894" y="446"/>
                      </a:lnTo>
                      <a:lnTo>
                        <a:pt x="1894" y="446"/>
                      </a:lnTo>
                      <a:lnTo>
                        <a:pt x="1890" y="442"/>
                      </a:lnTo>
                      <a:lnTo>
                        <a:pt x="1890" y="434"/>
                      </a:lnTo>
                      <a:lnTo>
                        <a:pt x="1892" y="416"/>
                      </a:lnTo>
                      <a:lnTo>
                        <a:pt x="1898" y="394"/>
                      </a:lnTo>
                      <a:lnTo>
                        <a:pt x="1898" y="394"/>
                      </a:lnTo>
                      <a:lnTo>
                        <a:pt x="1914" y="374"/>
                      </a:lnTo>
                      <a:lnTo>
                        <a:pt x="1926" y="360"/>
                      </a:lnTo>
                      <a:lnTo>
                        <a:pt x="1928" y="354"/>
                      </a:lnTo>
                      <a:lnTo>
                        <a:pt x="1930" y="350"/>
                      </a:lnTo>
                      <a:lnTo>
                        <a:pt x="1930" y="350"/>
                      </a:lnTo>
                      <a:lnTo>
                        <a:pt x="1934" y="340"/>
                      </a:lnTo>
                      <a:lnTo>
                        <a:pt x="1944" y="324"/>
                      </a:lnTo>
                      <a:lnTo>
                        <a:pt x="1956" y="310"/>
                      </a:lnTo>
                      <a:lnTo>
                        <a:pt x="1964" y="304"/>
                      </a:lnTo>
                      <a:lnTo>
                        <a:pt x="1972" y="300"/>
                      </a:lnTo>
                      <a:lnTo>
                        <a:pt x="1972" y="300"/>
                      </a:lnTo>
                      <a:lnTo>
                        <a:pt x="1978" y="296"/>
                      </a:lnTo>
                      <a:lnTo>
                        <a:pt x="1986" y="290"/>
                      </a:lnTo>
                      <a:lnTo>
                        <a:pt x="1996" y="278"/>
                      </a:lnTo>
                      <a:lnTo>
                        <a:pt x="2004" y="264"/>
                      </a:lnTo>
                      <a:lnTo>
                        <a:pt x="2004" y="264"/>
                      </a:lnTo>
                      <a:lnTo>
                        <a:pt x="2010" y="252"/>
                      </a:lnTo>
                      <a:lnTo>
                        <a:pt x="2016" y="240"/>
                      </a:lnTo>
                      <a:lnTo>
                        <a:pt x="2020" y="236"/>
                      </a:lnTo>
                      <a:lnTo>
                        <a:pt x="2024" y="234"/>
                      </a:lnTo>
                      <a:lnTo>
                        <a:pt x="2024" y="234"/>
                      </a:lnTo>
                      <a:lnTo>
                        <a:pt x="2030" y="232"/>
                      </a:lnTo>
                      <a:lnTo>
                        <a:pt x="2034" y="226"/>
                      </a:lnTo>
                      <a:lnTo>
                        <a:pt x="2046" y="214"/>
                      </a:lnTo>
                      <a:lnTo>
                        <a:pt x="2056" y="198"/>
                      </a:lnTo>
                      <a:lnTo>
                        <a:pt x="2078" y="154"/>
                      </a:lnTo>
                      <a:lnTo>
                        <a:pt x="2090" y="112"/>
                      </a:lnTo>
                      <a:lnTo>
                        <a:pt x="2088" y="78"/>
                      </a:lnTo>
                      <a:close/>
                      <a:moveTo>
                        <a:pt x="1040" y="574"/>
                      </a:move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lnTo>
                        <a:pt x="1040" y="574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10000"/>
                  </a:schemeClr>
                </a:solidFill>
                <a:ln w="9525">
                  <a:solidFill>
                    <a:schemeClr val="tx2">
                      <a:lumMod val="60000"/>
                      <a:lumOff val="40000"/>
                      <a:alpha val="9000"/>
                    </a:schemeClr>
                  </a:solidFill>
                  <a:round/>
                  <a:headEnd/>
                  <a:tailEnd/>
                </a:ln>
                <a:effectLst>
                  <a:glow rad="63500">
                    <a:schemeClr val="tx2">
                      <a:lumMod val="60000"/>
                      <a:lumOff val="40000"/>
                      <a:alpha val="28000"/>
                    </a:schemeClr>
                  </a:glow>
                  <a:softEdge rad="127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1" name="Group 154"/>
              <p:cNvGrpSpPr>
                <a:grpSpLocks noChangeAspect="1"/>
              </p:cNvGrpSpPr>
              <p:nvPr/>
            </p:nvGrpSpPr>
            <p:grpSpPr>
              <a:xfrm rot="2047758">
                <a:off x="6509445" y="1366517"/>
                <a:ext cx="1457110" cy="1131216"/>
                <a:chOff x="381000" y="3581400"/>
                <a:chExt cx="3435350" cy="2667000"/>
              </a:xfrm>
              <a:solidFill>
                <a:schemeClr val="bg2">
                  <a:lumMod val="60000"/>
                  <a:lumOff val="40000"/>
                  <a:alpha val="18000"/>
                </a:schemeClr>
              </a:solidFill>
            </p:grpSpPr>
            <p:sp>
              <p:nvSpPr>
                <p:cNvPr id="167" name="Freeform 72"/>
                <p:cNvSpPr>
                  <a:spLocks/>
                </p:cNvSpPr>
                <p:nvPr/>
              </p:nvSpPr>
              <p:spPr bwMode="auto">
                <a:xfrm>
                  <a:off x="1644650" y="4162425"/>
                  <a:ext cx="441325" cy="657225"/>
                </a:xfrm>
                <a:custGeom>
                  <a:avLst/>
                  <a:gdLst/>
                  <a:ahLst/>
                  <a:cxnLst>
                    <a:cxn ang="0">
                      <a:pos x="276" y="414"/>
                    </a:cxn>
                    <a:cxn ang="0">
                      <a:pos x="276" y="414"/>
                    </a:cxn>
                    <a:cxn ang="0">
                      <a:pos x="278" y="414"/>
                    </a:cxn>
                    <a:cxn ang="0">
                      <a:pos x="278" y="412"/>
                    </a:cxn>
                    <a:cxn ang="0">
                      <a:pos x="278" y="412"/>
                    </a:cxn>
                    <a:cxn ang="0">
                      <a:pos x="270" y="396"/>
                    </a:cxn>
                    <a:cxn ang="0">
                      <a:pos x="54" y="60"/>
                    </a:cxn>
                    <a:cxn ang="0">
                      <a:pos x="54" y="60"/>
                    </a:cxn>
                    <a:cxn ang="0">
                      <a:pos x="38" y="32"/>
                    </a:cxn>
                    <a:cxn ang="0">
                      <a:pos x="36" y="28"/>
                    </a:cxn>
                    <a:cxn ang="0">
                      <a:pos x="36" y="28"/>
                    </a:cxn>
                    <a:cxn ang="0">
                      <a:pos x="26" y="14"/>
                    </a:cxn>
                    <a:cxn ang="0">
                      <a:pos x="14" y="4"/>
                    </a:cxn>
                    <a:cxn ang="0">
                      <a:pos x="10" y="2"/>
                    </a:cxn>
                    <a:cxn ang="0">
                      <a:pos x="10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6"/>
                    </a:cxn>
                    <a:cxn ang="0">
                      <a:pos x="0" y="6"/>
                    </a:cxn>
                    <a:cxn ang="0">
                      <a:pos x="4" y="18"/>
                    </a:cxn>
                    <a:cxn ang="0">
                      <a:pos x="12" y="28"/>
                    </a:cxn>
                    <a:cxn ang="0">
                      <a:pos x="12" y="28"/>
                    </a:cxn>
                    <a:cxn ang="0">
                      <a:pos x="22" y="36"/>
                    </a:cxn>
                    <a:cxn ang="0">
                      <a:pos x="30" y="48"/>
                    </a:cxn>
                    <a:cxn ang="0">
                      <a:pos x="264" y="402"/>
                    </a:cxn>
                    <a:cxn ang="0">
                      <a:pos x="264" y="402"/>
                    </a:cxn>
                    <a:cxn ang="0">
                      <a:pos x="270" y="410"/>
                    </a:cxn>
                    <a:cxn ang="0">
                      <a:pos x="276" y="414"/>
                    </a:cxn>
                    <a:cxn ang="0">
                      <a:pos x="276" y="414"/>
                    </a:cxn>
                  </a:cxnLst>
                  <a:rect l="0" t="0" r="r" b="b"/>
                  <a:pathLst>
                    <a:path w="278" h="414">
                      <a:moveTo>
                        <a:pt x="276" y="414"/>
                      </a:moveTo>
                      <a:lnTo>
                        <a:pt x="276" y="414"/>
                      </a:lnTo>
                      <a:lnTo>
                        <a:pt x="278" y="414"/>
                      </a:lnTo>
                      <a:lnTo>
                        <a:pt x="278" y="412"/>
                      </a:lnTo>
                      <a:lnTo>
                        <a:pt x="278" y="412"/>
                      </a:lnTo>
                      <a:lnTo>
                        <a:pt x="270" y="396"/>
                      </a:lnTo>
                      <a:lnTo>
                        <a:pt x="54" y="60"/>
                      </a:lnTo>
                      <a:lnTo>
                        <a:pt x="54" y="60"/>
                      </a:lnTo>
                      <a:lnTo>
                        <a:pt x="38" y="32"/>
                      </a:lnTo>
                      <a:lnTo>
                        <a:pt x="36" y="28"/>
                      </a:lnTo>
                      <a:lnTo>
                        <a:pt x="36" y="28"/>
                      </a:lnTo>
                      <a:lnTo>
                        <a:pt x="26" y="1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1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22" y="36"/>
                      </a:lnTo>
                      <a:lnTo>
                        <a:pt x="30" y="48"/>
                      </a:lnTo>
                      <a:lnTo>
                        <a:pt x="264" y="402"/>
                      </a:lnTo>
                      <a:lnTo>
                        <a:pt x="264" y="402"/>
                      </a:lnTo>
                      <a:lnTo>
                        <a:pt x="270" y="410"/>
                      </a:lnTo>
                      <a:lnTo>
                        <a:pt x="276" y="414"/>
                      </a:lnTo>
                      <a:lnTo>
                        <a:pt x="276" y="4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73"/>
                <p:cNvSpPr>
                  <a:spLocks/>
                </p:cNvSpPr>
                <p:nvPr/>
              </p:nvSpPr>
              <p:spPr bwMode="auto">
                <a:xfrm>
                  <a:off x="2089150" y="4835525"/>
                  <a:ext cx="1588" cy="31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Freeform 74"/>
                <p:cNvSpPr>
                  <a:spLocks/>
                </p:cNvSpPr>
                <p:nvPr/>
              </p:nvSpPr>
              <p:spPr bwMode="auto">
                <a:xfrm>
                  <a:off x="2117725" y="4162425"/>
                  <a:ext cx="444500" cy="657225"/>
                </a:xfrm>
                <a:custGeom>
                  <a:avLst/>
                  <a:gdLst/>
                  <a:ahLst/>
                  <a:cxnLst>
                    <a:cxn ang="0">
                      <a:pos x="4" y="414"/>
                    </a:cxn>
                    <a:cxn ang="0">
                      <a:pos x="4" y="414"/>
                    </a:cxn>
                    <a:cxn ang="0">
                      <a:pos x="8" y="410"/>
                    </a:cxn>
                    <a:cxn ang="0">
                      <a:pos x="16" y="402"/>
                    </a:cxn>
                    <a:cxn ang="0">
                      <a:pos x="248" y="48"/>
                    </a:cxn>
                    <a:cxn ang="0">
                      <a:pos x="248" y="48"/>
                    </a:cxn>
                    <a:cxn ang="0">
                      <a:pos x="258" y="36"/>
                    </a:cxn>
                    <a:cxn ang="0">
                      <a:pos x="266" y="28"/>
                    </a:cxn>
                    <a:cxn ang="0">
                      <a:pos x="266" y="28"/>
                    </a:cxn>
                    <a:cxn ang="0">
                      <a:pos x="274" y="18"/>
                    </a:cxn>
                    <a:cxn ang="0">
                      <a:pos x="280" y="6"/>
                    </a:cxn>
                    <a:cxn ang="0">
                      <a:pos x="280" y="6"/>
                    </a:cxn>
                    <a:cxn ang="0">
                      <a:pos x="280" y="2"/>
                    </a:cxn>
                    <a:cxn ang="0">
                      <a:pos x="278" y="0"/>
                    </a:cxn>
                    <a:cxn ang="0">
                      <a:pos x="274" y="0"/>
                    </a:cxn>
                    <a:cxn ang="0">
                      <a:pos x="268" y="2"/>
                    </a:cxn>
                    <a:cxn ang="0">
                      <a:pos x="266" y="4"/>
                    </a:cxn>
                    <a:cxn ang="0">
                      <a:pos x="266" y="4"/>
                    </a:cxn>
                    <a:cxn ang="0">
                      <a:pos x="254" y="14"/>
                    </a:cxn>
                    <a:cxn ang="0">
                      <a:pos x="244" y="28"/>
                    </a:cxn>
                    <a:cxn ang="0">
                      <a:pos x="240" y="32"/>
                    </a:cxn>
                    <a:cxn ang="0">
                      <a:pos x="240" y="32"/>
                    </a:cxn>
                    <a:cxn ang="0">
                      <a:pos x="224" y="60"/>
                    </a:cxn>
                    <a:cxn ang="0">
                      <a:pos x="10" y="396"/>
                    </a:cxn>
                    <a:cxn ang="0">
                      <a:pos x="10" y="396"/>
                    </a:cxn>
                    <a:cxn ang="0">
                      <a:pos x="0" y="412"/>
                    </a:cxn>
                    <a:cxn ang="0">
                      <a:pos x="0" y="412"/>
                    </a:cxn>
                    <a:cxn ang="0">
                      <a:pos x="0" y="414"/>
                    </a:cxn>
                    <a:cxn ang="0">
                      <a:pos x="0" y="414"/>
                    </a:cxn>
                    <a:cxn ang="0">
                      <a:pos x="4" y="414"/>
                    </a:cxn>
                    <a:cxn ang="0">
                      <a:pos x="4" y="414"/>
                    </a:cxn>
                  </a:cxnLst>
                  <a:rect l="0" t="0" r="r" b="b"/>
                  <a:pathLst>
                    <a:path w="280" h="414">
                      <a:moveTo>
                        <a:pt x="4" y="414"/>
                      </a:moveTo>
                      <a:lnTo>
                        <a:pt x="4" y="414"/>
                      </a:lnTo>
                      <a:lnTo>
                        <a:pt x="8" y="410"/>
                      </a:lnTo>
                      <a:lnTo>
                        <a:pt x="16" y="402"/>
                      </a:lnTo>
                      <a:lnTo>
                        <a:pt x="248" y="48"/>
                      </a:lnTo>
                      <a:lnTo>
                        <a:pt x="248" y="48"/>
                      </a:lnTo>
                      <a:lnTo>
                        <a:pt x="258" y="36"/>
                      </a:lnTo>
                      <a:lnTo>
                        <a:pt x="266" y="28"/>
                      </a:lnTo>
                      <a:lnTo>
                        <a:pt x="266" y="28"/>
                      </a:lnTo>
                      <a:lnTo>
                        <a:pt x="274" y="18"/>
                      </a:lnTo>
                      <a:lnTo>
                        <a:pt x="280" y="6"/>
                      </a:lnTo>
                      <a:lnTo>
                        <a:pt x="280" y="6"/>
                      </a:lnTo>
                      <a:lnTo>
                        <a:pt x="280" y="2"/>
                      </a:lnTo>
                      <a:lnTo>
                        <a:pt x="278" y="0"/>
                      </a:lnTo>
                      <a:lnTo>
                        <a:pt x="274" y="0"/>
                      </a:lnTo>
                      <a:lnTo>
                        <a:pt x="268" y="2"/>
                      </a:lnTo>
                      <a:lnTo>
                        <a:pt x="266" y="4"/>
                      </a:lnTo>
                      <a:lnTo>
                        <a:pt x="266" y="4"/>
                      </a:lnTo>
                      <a:lnTo>
                        <a:pt x="254" y="14"/>
                      </a:lnTo>
                      <a:lnTo>
                        <a:pt x="244" y="28"/>
                      </a:lnTo>
                      <a:lnTo>
                        <a:pt x="240" y="32"/>
                      </a:lnTo>
                      <a:lnTo>
                        <a:pt x="240" y="32"/>
                      </a:lnTo>
                      <a:lnTo>
                        <a:pt x="224" y="60"/>
                      </a:lnTo>
                      <a:lnTo>
                        <a:pt x="10" y="396"/>
                      </a:lnTo>
                      <a:lnTo>
                        <a:pt x="10" y="396"/>
                      </a:lnTo>
                      <a:lnTo>
                        <a:pt x="0" y="412"/>
                      </a:lnTo>
                      <a:lnTo>
                        <a:pt x="0" y="412"/>
                      </a:lnTo>
                      <a:lnTo>
                        <a:pt x="0" y="414"/>
                      </a:lnTo>
                      <a:lnTo>
                        <a:pt x="0" y="414"/>
                      </a:lnTo>
                      <a:lnTo>
                        <a:pt x="4" y="414"/>
                      </a:lnTo>
                      <a:lnTo>
                        <a:pt x="4" y="4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75"/>
                <p:cNvSpPr>
                  <a:spLocks noEditPoints="1"/>
                </p:cNvSpPr>
                <p:nvPr/>
              </p:nvSpPr>
              <p:spPr bwMode="auto">
                <a:xfrm>
                  <a:off x="381000" y="3581400"/>
                  <a:ext cx="3435350" cy="2667000"/>
                </a:xfrm>
                <a:custGeom>
                  <a:avLst/>
                  <a:gdLst/>
                  <a:ahLst/>
                  <a:cxnLst>
                    <a:cxn ang="0">
                      <a:pos x="2160" y="44"/>
                    </a:cxn>
                    <a:cxn ang="0">
                      <a:pos x="2102" y="6"/>
                    </a:cxn>
                    <a:cxn ang="0">
                      <a:pos x="1752" y="118"/>
                    </a:cxn>
                    <a:cxn ang="0">
                      <a:pos x="1142" y="870"/>
                    </a:cxn>
                    <a:cxn ang="0">
                      <a:pos x="1126" y="832"/>
                    </a:cxn>
                    <a:cxn ang="0">
                      <a:pos x="1126" y="794"/>
                    </a:cxn>
                    <a:cxn ang="0">
                      <a:pos x="1100" y="780"/>
                    </a:cxn>
                    <a:cxn ang="0">
                      <a:pos x="1080" y="778"/>
                    </a:cxn>
                    <a:cxn ang="0">
                      <a:pos x="1068" y="788"/>
                    </a:cxn>
                    <a:cxn ang="0">
                      <a:pos x="1034" y="802"/>
                    </a:cxn>
                    <a:cxn ang="0">
                      <a:pos x="1024" y="846"/>
                    </a:cxn>
                    <a:cxn ang="0">
                      <a:pos x="690" y="370"/>
                    </a:cxn>
                    <a:cxn ang="0">
                      <a:pos x="118" y="0"/>
                    </a:cxn>
                    <a:cxn ang="0">
                      <a:pos x="32" y="18"/>
                    </a:cxn>
                    <a:cxn ang="0">
                      <a:pos x="2" y="64"/>
                    </a:cxn>
                    <a:cxn ang="0">
                      <a:pos x="108" y="686"/>
                    </a:cxn>
                    <a:cxn ang="0">
                      <a:pos x="348" y="952"/>
                    </a:cxn>
                    <a:cxn ang="0">
                      <a:pos x="504" y="1020"/>
                    </a:cxn>
                    <a:cxn ang="0">
                      <a:pos x="346" y="1198"/>
                    </a:cxn>
                    <a:cxn ang="0">
                      <a:pos x="330" y="1284"/>
                    </a:cxn>
                    <a:cxn ang="0">
                      <a:pos x="372" y="1442"/>
                    </a:cxn>
                    <a:cxn ang="0">
                      <a:pos x="406" y="1476"/>
                    </a:cxn>
                    <a:cxn ang="0">
                      <a:pos x="436" y="1500"/>
                    </a:cxn>
                    <a:cxn ang="0">
                      <a:pos x="478" y="1550"/>
                    </a:cxn>
                    <a:cxn ang="0">
                      <a:pos x="516" y="1562"/>
                    </a:cxn>
                    <a:cxn ang="0">
                      <a:pos x="558" y="1608"/>
                    </a:cxn>
                    <a:cxn ang="0">
                      <a:pos x="622" y="1636"/>
                    </a:cxn>
                    <a:cxn ang="0">
                      <a:pos x="708" y="1676"/>
                    </a:cxn>
                    <a:cxn ang="0">
                      <a:pos x="742" y="1660"/>
                    </a:cxn>
                    <a:cxn ang="0">
                      <a:pos x="836" y="1606"/>
                    </a:cxn>
                    <a:cxn ang="0">
                      <a:pos x="892" y="1528"/>
                    </a:cxn>
                    <a:cxn ang="0">
                      <a:pos x="1012" y="1188"/>
                    </a:cxn>
                    <a:cxn ang="0">
                      <a:pos x="1016" y="1342"/>
                    </a:cxn>
                    <a:cxn ang="0">
                      <a:pos x="1018" y="1494"/>
                    </a:cxn>
                    <a:cxn ang="0">
                      <a:pos x="1120" y="1598"/>
                    </a:cxn>
                    <a:cxn ang="0">
                      <a:pos x="1146" y="1430"/>
                    </a:cxn>
                    <a:cxn ang="0">
                      <a:pos x="1128" y="1158"/>
                    </a:cxn>
                    <a:cxn ang="0">
                      <a:pos x="1150" y="1176"/>
                    </a:cxn>
                    <a:cxn ang="0">
                      <a:pos x="1274" y="1528"/>
                    </a:cxn>
                    <a:cxn ang="0">
                      <a:pos x="1370" y="1646"/>
                    </a:cxn>
                    <a:cxn ang="0">
                      <a:pos x="1424" y="1660"/>
                    </a:cxn>
                    <a:cxn ang="0">
                      <a:pos x="1458" y="1676"/>
                    </a:cxn>
                    <a:cxn ang="0">
                      <a:pos x="1544" y="1636"/>
                    </a:cxn>
                    <a:cxn ang="0">
                      <a:pos x="1608" y="1608"/>
                    </a:cxn>
                    <a:cxn ang="0">
                      <a:pos x="1650" y="1562"/>
                    </a:cxn>
                    <a:cxn ang="0">
                      <a:pos x="1688" y="1550"/>
                    </a:cxn>
                    <a:cxn ang="0">
                      <a:pos x="1730" y="1500"/>
                    </a:cxn>
                    <a:cxn ang="0">
                      <a:pos x="1760" y="1476"/>
                    </a:cxn>
                    <a:cxn ang="0">
                      <a:pos x="1794" y="1442"/>
                    </a:cxn>
                    <a:cxn ang="0">
                      <a:pos x="1836" y="1284"/>
                    </a:cxn>
                    <a:cxn ang="0">
                      <a:pos x="1820" y="1198"/>
                    </a:cxn>
                    <a:cxn ang="0">
                      <a:pos x="1662" y="1020"/>
                    </a:cxn>
                    <a:cxn ang="0">
                      <a:pos x="1882" y="942"/>
                    </a:cxn>
                    <a:cxn ang="0">
                      <a:pos x="2086" y="544"/>
                    </a:cxn>
                    <a:cxn ang="0">
                      <a:pos x="1076" y="792"/>
                    </a:cxn>
                  </a:cxnLst>
                  <a:rect l="0" t="0" r="r" b="b"/>
                  <a:pathLst>
                    <a:path w="2164" h="1680">
                      <a:moveTo>
                        <a:pt x="2162" y="70"/>
                      </a:moveTo>
                      <a:lnTo>
                        <a:pt x="2162" y="70"/>
                      </a:lnTo>
                      <a:lnTo>
                        <a:pt x="2164" y="64"/>
                      </a:lnTo>
                      <a:lnTo>
                        <a:pt x="2164" y="60"/>
                      </a:lnTo>
                      <a:lnTo>
                        <a:pt x="2164" y="52"/>
                      </a:lnTo>
                      <a:lnTo>
                        <a:pt x="2160" y="44"/>
                      </a:lnTo>
                      <a:lnTo>
                        <a:pt x="2156" y="36"/>
                      </a:lnTo>
                      <a:lnTo>
                        <a:pt x="2146" y="28"/>
                      </a:lnTo>
                      <a:lnTo>
                        <a:pt x="2134" y="18"/>
                      </a:lnTo>
                      <a:lnTo>
                        <a:pt x="2134" y="18"/>
                      </a:lnTo>
                      <a:lnTo>
                        <a:pt x="2118" y="12"/>
                      </a:lnTo>
                      <a:lnTo>
                        <a:pt x="2102" y="6"/>
                      </a:lnTo>
                      <a:lnTo>
                        <a:pt x="2086" y="4"/>
                      </a:lnTo>
                      <a:lnTo>
                        <a:pt x="2072" y="2"/>
                      </a:lnTo>
                      <a:lnTo>
                        <a:pt x="2048" y="0"/>
                      </a:lnTo>
                      <a:lnTo>
                        <a:pt x="2038" y="0"/>
                      </a:lnTo>
                      <a:lnTo>
                        <a:pt x="1904" y="40"/>
                      </a:lnTo>
                      <a:lnTo>
                        <a:pt x="1752" y="118"/>
                      </a:lnTo>
                      <a:lnTo>
                        <a:pt x="1598" y="244"/>
                      </a:lnTo>
                      <a:lnTo>
                        <a:pt x="1476" y="370"/>
                      </a:lnTo>
                      <a:lnTo>
                        <a:pt x="1312" y="580"/>
                      </a:lnTo>
                      <a:lnTo>
                        <a:pt x="1216" y="732"/>
                      </a:lnTo>
                      <a:lnTo>
                        <a:pt x="1160" y="836"/>
                      </a:lnTo>
                      <a:lnTo>
                        <a:pt x="1142" y="870"/>
                      </a:lnTo>
                      <a:lnTo>
                        <a:pt x="1142" y="870"/>
                      </a:lnTo>
                      <a:lnTo>
                        <a:pt x="1142" y="860"/>
                      </a:lnTo>
                      <a:lnTo>
                        <a:pt x="1142" y="860"/>
                      </a:lnTo>
                      <a:lnTo>
                        <a:pt x="1142" y="856"/>
                      </a:lnTo>
                      <a:lnTo>
                        <a:pt x="1138" y="848"/>
                      </a:lnTo>
                      <a:lnTo>
                        <a:pt x="1126" y="832"/>
                      </a:lnTo>
                      <a:lnTo>
                        <a:pt x="1126" y="832"/>
                      </a:lnTo>
                      <a:lnTo>
                        <a:pt x="1132" y="822"/>
                      </a:lnTo>
                      <a:lnTo>
                        <a:pt x="1134" y="812"/>
                      </a:lnTo>
                      <a:lnTo>
                        <a:pt x="1134" y="812"/>
                      </a:lnTo>
                      <a:lnTo>
                        <a:pt x="1132" y="802"/>
                      </a:lnTo>
                      <a:lnTo>
                        <a:pt x="1126" y="794"/>
                      </a:lnTo>
                      <a:lnTo>
                        <a:pt x="1118" y="788"/>
                      </a:lnTo>
                      <a:lnTo>
                        <a:pt x="1108" y="786"/>
                      </a:lnTo>
                      <a:lnTo>
                        <a:pt x="1108" y="786"/>
                      </a:lnTo>
                      <a:lnTo>
                        <a:pt x="1104" y="786"/>
                      </a:lnTo>
                      <a:lnTo>
                        <a:pt x="1108" y="780"/>
                      </a:lnTo>
                      <a:lnTo>
                        <a:pt x="1100" y="780"/>
                      </a:lnTo>
                      <a:lnTo>
                        <a:pt x="1094" y="780"/>
                      </a:lnTo>
                      <a:lnTo>
                        <a:pt x="1094" y="780"/>
                      </a:lnTo>
                      <a:lnTo>
                        <a:pt x="1086" y="774"/>
                      </a:lnTo>
                      <a:lnTo>
                        <a:pt x="1086" y="776"/>
                      </a:lnTo>
                      <a:lnTo>
                        <a:pt x="1084" y="774"/>
                      </a:lnTo>
                      <a:lnTo>
                        <a:pt x="1080" y="778"/>
                      </a:lnTo>
                      <a:lnTo>
                        <a:pt x="1074" y="776"/>
                      </a:lnTo>
                      <a:lnTo>
                        <a:pt x="1074" y="780"/>
                      </a:lnTo>
                      <a:lnTo>
                        <a:pt x="1068" y="780"/>
                      </a:lnTo>
                      <a:lnTo>
                        <a:pt x="1064" y="780"/>
                      </a:lnTo>
                      <a:lnTo>
                        <a:pt x="1068" y="788"/>
                      </a:lnTo>
                      <a:lnTo>
                        <a:pt x="1068" y="788"/>
                      </a:lnTo>
                      <a:lnTo>
                        <a:pt x="1068" y="788"/>
                      </a:lnTo>
                      <a:lnTo>
                        <a:pt x="1058" y="786"/>
                      </a:lnTo>
                      <a:lnTo>
                        <a:pt x="1058" y="786"/>
                      </a:lnTo>
                      <a:lnTo>
                        <a:pt x="1048" y="788"/>
                      </a:lnTo>
                      <a:lnTo>
                        <a:pt x="1040" y="794"/>
                      </a:lnTo>
                      <a:lnTo>
                        <a:pt x="1034" y="802"/>
                      </a:lnTo>
                      <a:lnTo>
                        <a:pt x="1032" y="812"/>
                      </a:lnTo>
                      <a:lnTo>
                        <a:pt x="1032" y="812"/>
                      </a:lnTo>
                      <a:lnTo>
                        <a:pt x="1034" y="820"/>
                      </a:lnTo>
                      <a:lnTo>
                        <a:pt x="1036" y="828"/>
                      </a:lnTo>
                      <a:lnTo>
                        <a:pt x="1036" y="828"/>
                      </a:lnTo>
                      <a:lnTo>
                        <a:pt x="1024" y="846"/>
                      </a:lnTo>
                      <a:lnTo>
                        <a:pt x="1020" y="854"/>
                      </a:lnTo>
                      <a:lnTo>
                        <a:pt x="1018" y="860"/>
                      </a:lnTo>
                      <a:lnTo>
                        <a:pt x="1006" y="836"/>
                      </a:lnTo>
                      <a:lnTo>
                        <a:pt x="950" y="732"/>
                      </a:lnTo>
                      <a:lnTo>
                        <a:pt x="854" y="580"/>
                      </a:lnTo>
                      <a:lnTo>
                        <a:pt x="690" y="370"/>
                      </a:lnTo>
                      <a:lnTo>
                        <a:pt x="568" y="244"/>
                      </a:lnTo>
                      <a:lnTo>
                        <a:pt x="412" y="118"/>
                      </a:lnTo>
                      <a:lnTo>
                        <a:pt x="262" y="40"/>
                      </a:lnTo>
                      <a:lnTo>
                        <a:pt x="128" y="0"/>
                      </a:lnTo>
                      <a:lnTo>
                        <a:pt x="128" y="0"/>
                      </a:lnTo>
                      <a:lnTo>
                        <a:pt x="118" y="0"/>
                      </a:lnTo>
                      <a:lnTo>
                        <a:pt x="94" y="2"/>
                      </a:lnTo>
                      <a:lnTo>
                        <a:pt x="80" y="4"/>
                      </a:lnTo>
                      <a:lnTo>
                        <a:pt x="64" y="6"/>
                      </a:lnTo>
                      <a:lnTo>
                        <a:pt x="48" y="12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20" y="28"/>
                      </a:lnTo>
                      <a:lnTo>
                        <a:pt x="10" y="36"/>
                      </a:lnTo>
                      <a:lnTo>
                        <a:pt x="6" y="44"/>
                      </a:lnTo>
                      <a:lnTo>
                        <a:pt x="2" y="52"/>
                      </a:lnTo>
                      <a:lnTo>
                        <a:pt x="2" y="60"/>
                      </a:lnTo>
                      <a:lnTo>
                        <a:pt x="2" y="64"/>
                      </a:lnTo>
                      <a:lnTo>
                        <a:pt x="4" y="70"/>
                      </a:lnTo>
                      <a:lnTo>
                        <a:pt x="0" y="114"/>
                      </a:lnTo>
                      <a:lnTo>
                        <a:pt x="12" y="226"/>
                      </a:lnTo>
                      <a:lnTo>
                        <a:pt x="58" y="452"/>
                      </a:lnTo>
                      <a:lnTo>
                        <a:pt x="80" y="544"/>
                      </a:lnTo>
                      <a:lnTo>
                        <a:pt x="108" y="686"/>
                      </a:lnTo>
                      <a:lnTo>
                        <a:pt x="122" y="734"/>
                      </a:lnTo>
                      <a:lnTo>
                        <a:pt x="154" y="810"/>
                      </a:lnTo>
                      <a:lnTo>
                        <a:pt x="196" y="876"/>
                      </a:lnTo>
                      <a:lnTo>
                        <a:pt x="240" y="918"/>
                      </a:lnTo>
                      <a:lnTo>
                        <a:pt x="284" y="942"/>
                      </a:lnTo>
                      <a:lnTo>
                        <a:pt x="348" y="952"/>
                      </a:lnTo>
                      <a:lnTo>
                        <a:pt x="410" y="960"/>
                      </a:lnTo>
                      <a:lnTo>
                        <a:pt x="622" y="978"/>
                      </a:lnTo>
                      <a:lnTo>
                        <a:pt x="622" y="978"/>
                      </a:lnTo>
                      <a:lnTo>
                        <a:pt x="580" y="992"/>
                      </a:lnTo>
                      <a:lnTo>
                        <a:pt x="538" y="1006"/>
                      </a:lnTo>
                      <a:lnTo>
                        <a:pt x="504" y="1020"/>
                      </a:lnTo>
                      <a:lnTo>
                        <a:pt x="486" y="1028"/>
                      </a:lnTo>
                      <a:lnTo>
                        <a:pt x="486" y="1028"/>
                      </a:lnTo>
                      <a:lnTo>
                        <a:pt x="444" y="1066"/>
                      </a:lnTo>
                      <a:lnTo>
                        <a:pt x="410" y="1098"/>
                      </a:lnTo>
                      <a:lnTo>
                        <a:pt x="346" y="1198"/>
                      </a:lnTo>
                      <a:lnTo>
                        <a:pt x="346" y="1198"/>
                      </a:lnTo>
                      <a:lnTo>
                        <a:pt x="338" y="1222"/>
                      </a:lnTo>
                      <a:lnTo>
                        <a:pt x="330" y="1242"/>
                      </a:lnTo>
                      <a:lnTo>
                        <a:pt x="326" y="1256"/>
                      </a:lnTo>
                      <a:lnTo>
                        <a:pt x="326" y="1256"/>
                      </a:lnTo>
                      <a:lnTo>
                        <a:pt x="326" y="1270"/>
                      </a:lnTo>
                      <a:lnTo>
                        <a:pt x="330" y="1284"/>
                      </a:lnTo>
                      <a:lnTo>
                        <a:pt x="334" y="1302"/>
                      </a:lnTo>
                      <a:lnTo>
                        <a:pt x="334" y="1346"/>
                      </a:lnTo>
                      <a:lnTo>
                        <a:pt x="358" y="1386"/>
                      </a:lnTo>
                      <a:lnTo>
                        <a:pt x="370" y="1438"/>
                      </a:lnTo>
                      <a:lnTo>
                        <a:pt x="370" y="1438"/>
                      </a:lnTo>
                      <a:lnTo>
                        <a:pt x="372" y="1442"/>
                      </a:lnTo>
                      <a:lnTo>
                        <a:pt x="376" y="1454"/>
                      </a:lnTo>
                      <a:lnTo>
                        <a:pt x="380" y="1460"/>
                      </a:lnTo>
                      <a:lnTo>
                        <a:pt x="386" y="1466"/>
                      </a:lnTo>
                      <a:lnTo>
                        <a:pt x="396" y="1472"/>
                      </a:lnTo>
                      <a:lnTo>
                        <a:pt x="406" y="1476"/>
                      </a:lnTo>
                      <a:lnTo>
                        <a:pt x="406" y="1476"/>
                      </a:lnTo>
                      <a:lnTo>
                        <a:pt x="418" y="1480"/>
                      </a:lnTo>
                      <a:lnTo>
                        <a:pt x="424" y="1484"/>
                      </a:lnTo>
                      <a:lnTo>
                        <a:pt x="430" y="1488"/>
                      </a:lnTo>
                      <a:lnTo>
                        <a:pt x="434" y="1492"/>
                      </a:lnTo>
                      <a:lnTo>
                        <a:pt x="436" y="1498"/>
                      </a:lnTo>
                      <a:lnTo>
                        <a:pt x="436" y="1500"/>
                      </a:lnTo>
                      <a:lnTo>
                        <a:pt x="436" y="1500"/>
                      </a:lnTo>
                      <a:lnTo>
                        <a:pt x="444" y="1514"/>
                      </a:lnTo>
                      <a:lnTo>
                        <a:pt x="458" y="1534"/>
                      </a:lnTo>
                      <a:lnTo>
                        <a:pt x="458" y="1534"/>
                      </a:lnTo>
                      <a:lnTo>
                        <a:pt x="466" y="1540"/>
                      </a:lnTo>
                      <a:lnTo>
                        <a:pt x="478" y="1550"/>
                      </a:lnTo>
                      <a:lnTo>
                        <a:pt x="490" y="1556"/>
                      </a:lnTo>
                      <a:lnTo>
                        <a:pt x="498" y="1558"/>
                      </a:lnTo>
                      <a:lnTo>
                        <a:pt x="504" y="1558"/>
                      </a:lnTo>
                      <a:lnTo>
                        <a:pt x="504" y="1558"/>
                      </a:lnTo>
                      <a:lnTo>
                        <a:pt x="510" y="1558"/>
                      </a:lnTo>
                      <a:lnTo>
                        <a:pt x="516" y="1562"/>
                      </a:lnTo>
                      <a:lnTo>
                        <a:pt x="528" y="1572"/>
                      </a:lnTo>
                      <a:lnTo>
                        <a:pt x="536" y="1582"/>
                      </a:lnTo>
                      <a:lnTo>
                        <a:pt x="540" y="1588"/>
                      </a:lnTo>
                      <a:lnTo>
                        <a:pt x="540" y="1588"/>
                      </a:lnTo>
                      <a:lnTo>
                        <a:pt x="548" y="1598"/>
                      </a:lnTo>
                      <a:lnTo>
                        <a:pt x="558" y="1608"/>
                      </a:lnTo>
                      <a:lnTo>
                        <a:pt x="564" y="1612"/>
                      </a:lnTo>
                      <a:lnTo>
                        <a:pt x="570" y="1614"/>
                      </a:lnTo>
                      <a:lnTo>
                        <a:pt x="570" y="1614"/>
                      </a:lnTo>
                      <a:lnTo>
                        <a:pt x="586" y="1618"/>
                      </a:lnTo>
                      <a:lnTo>
                        <a:pt x="602" y="1626"/>
                      </a:lnTo>
                      <a:lnTo>
                        <a:pt x="622" y="1636"/>
                      </a:lnTo>
                      <a:lnTo>
                        <a:pt x="648" y="1656"/>
                      </a:lnTo>
                      <a:lnTo>
                        <a:pt x="676" y="1678"/>
                      </a:lnTo>
                      <a:lnTo>
                        <a:pt x="676" y="1678"/>
                      </a:lnTo>
                      <a:lnTo>
                        <a:pt x="682" y="1678"/>
                      </a:lnTo>
                      <a:lnTo>
                        <a:pt x="694" y="1680"/>
                      </a:lnTo>
                      <a:lnTo>
                        <a:pt x="708" y="1676"/>
                      </a:lnTo>
                      <a:lnTo>
                        <a:pt x="716" y="1674"/>
                      </a:lnTo>
                      <a:lnTo>
                        <a:pt x="724" y="1670"/>
                      </a:lnTo>
                      <a:lnTo>
                        <a:pt x="724" y="1670"/>
                      </a:lnTo>
                      <a:lnTo>
                        <a:pt x="730" y="1664"/>
                      </a:lnTo>
                      <a:lnTo>
                        <a:pt x="736" y="1662"/>
                      </a:lnTo>
                      <a:lnTo>
                        <a:pt x="742" y="1660"/>
                      </a:lnTo>
                      <a:lnTo>
                        <a:pt x="746" y="1660"/>
                      </a:lnTo>
                      <a:lnTo>
                        <a:pt x="754" y="1664"/>
                      </a:lnTo>
                      <a:lnTo>
                        <a:pt x="756" y="1664"/>
                      </a:lnTo>
                      <a:lnTo>
                        <a:pt x="772" y="1662"/>
                      </a:lnTo>
                      <a:lnTo>
                        <a:pt x="796" y="1646"/>
                      </a:lnTo>
                      <a:lnTo>
                        <a:pt x="836" y="1606"/>
                      </a:lnTo>
                      <a:lnTo>
                        <a:pt x="836" y="1606"/>
                      </a:lnTo>
                      <a:lnTo>
                        <a:pt x="840" y="1602"/>
                      </a:lnTo>
                      <a:lnTo>
                        <a:pt x="852" y="1588"/>
                      </a:lnTo>
                      <a:lnTo>
                        <a:pt x="870" y="1564"/>
                      </a:lnTo>
                      <a:lnTo>
                        <a:pt x="892" y="1528"/>
                      </a:lnTo>
                      <a:lnTo>
                        <a:pt x="892" y="1528"/>
                      </a:lnTo>
                      <a:lnTo>
                        <a:pt x="914" y="1478"/>
                      </a:lnTo>
                      <a:lnTo>
                        <a:pt x="938" y="1424"/>
                      </a:lnTo>
                      <a:lnTo>
                        <a:pt x="964" y="1362"/>
                      </a:lnTo>
                      <a:lnTo>
                        <a:pt x="964" y="1362"/>
                      </a:lnTo>
                      <a:lnTo>
                        <a:pt x="988" y="1268"/>
                      </a:lnTo>
                      <a:lnTo>
                        <a:pt x="1012" y="1188"/>
                      </a:lnTo>
                      <a:lnTo>
                        <a:pt x="1034" y="1116"/>
                      </a:lnTo>
                      <a:lnTo>
                        <a:pt x="1032" y="1158"/>
                      </a:lnTo>
                      <a:lnTo>
                        <a:pt x="1024" y="1232"/>
                      </a:lnTo>
                      <a:lnTo>
                        <a:pt x="1026" y="1256"/>
                      </a:lnTo>
                      <a:lnTo>
                        <a:pt x="1016" y="1290"/>
                      </a:lnTo>
                      <a:lnTo>
                        <a:pt x="1016" y="1342"/>
                      </a:lnTo>
                      <a:lnTo>
                        <a:pt x="1016" y="1356"/>
                      </a:lnTo>
                      <a:lnTo>
                        <a:pt x="1016" y="1430"/>
                      </a:lnTo>
                      <a:lnTo>
                        <a:pt x="1026" y="1436"/>
                      </a:lnTo>
                      <a:lnTo>
                        <a:pt x="1026" y="1446"/>
                      </a:lnTo>
                      <a:lnTo>
                        <a:pt x="1016" y="1458"/>
                      </a:lnTo>
                      <a:lnTo>
                        <a:pt x="1018" y="1494"/>
                      </a:lnTo>
                      <a:lnTo>
                        <a:pt x="1018" y="1552"/>
                      </a:lnTo>
                      <a:lnTo>
                        <a:pt x="1040" y="1598"/>
                      </a:lnTo>
                      <a:lnTo>
                        <a:pt x="1076" y="1628"/>
                      </a:lnTo>
                      <a:lnTo>
                        <a:pt x="1080" y="1596"/>
                      </a:lnTo>
                      <a:lnTo>
                        <a:pt x="1084" y="1628"/>
                      </a:lnTo>
                      <a:lnTo>
                        <a:pt x="1120" y="1598"/>
                      </a:lnTo>
                      <a:lnTo>
                        <a:pt x="1142" y="1552"/>
                      </a:lnTo>
                      <a:lnTo>
                        <a:pt x="1142" y="1494"/>
                      </a:lnTo>
                      <a:lnTo>
                        <a:pt x="1146" y="1458"/>
                      </a:lnTo>
                      <a:lnTo>
                        <a:pt x="1134" y="1446"/>
                      </a:lnTo>
                      <a:lnTo>
                        <a:pt x="1134" y="1436"/>
                      </a:lnTo>
                      <a:lnTo>
                        <a:pt x="1146" y="1430"/>
                      </a:lnTo>
                      <a:lnTo>
                        <a:pt x="1146" y="1356"/>
                      </a:lnTo>
                      <a:lnTo>
                        <a:pt x="1146" y="1342"/>
                      </a:lnTo>
                      <a:lnTo>
                        <a:pt x="1146" y="1290"/>
                      </a:lnTo>
                      <a:lnTo>
                        <a:pt x="1134" y="1256"/>
                      </a:lnTo>
                      <a:lnTo>
                        <a:pt x="1136" y="1232"/>
                      </a:lnTo>
                      <a:lnTo>
                        <a:pt x="1128" y="1158"/>
                      </a:lnTo>
                      <a:lnTo>
                        <a:pt x="1126" y="1116"/>
                      </a:lnTo>
                      <a:lnTo>
                        <a:pt x="1126" y="1116"/>
                      </a:lnTo>
                      <a:lnTo>
                        <a:pt x="1126" y="1106"/>
                      </a:lnTo>
                      <a:lnTo>
                        <a:pt x="1126" y="1106"/>
                      </a:lnTo>
                      <a:lnTo>
                        <a:pt x="1138" y="1136"/>
                      </a:lnTo>
                      <a:lnTo>
                        <a:pt x="1150" y="1176"/>
                      </a:lnTo>
                      <a:lnTo>
                        <a:pt x="1174" y="1260"/>
                      </a:lnTo>
                      <a:lnTo>
                        <a:pt x="1202" y="1362"/>
                      </a:lnTo>
                      <a:lnTo>
                        <a:pt x="1202" y="1362"/>
                      </a:lnTo>
                      <a:lnTo>
                        <a:pt x="1228" y="1424"/>
                      </a:lnTo>
                      <a:lnTo>
                        <a:pt x="1250" y="1478"/>
                      </a:lnTo>
                      <a:lnTo>
                        <a:pt x="1274" y="1528"/>
                      </a:lnTo>
                      <a:lnTo>
                        <a:pt x="1274" y="1528"/>
                      </a:lnTo>
                      <a:lnTo>
                        <a:pt x="1296" y="1564"/>
                      </a:lnTo>
                      <a:lnTo>
                        <a:pt x="1312" y="1588"/>
                      </a:lnTo>
                      <a:lnTo>
                        <a:pt x="1326" y="1602"/>
                      </a:lnTo>
                      <a:lnTo>
                        <a:pt x="1330" y="1606"/>
                      </a:lnTo>
                      <a:lnTo>
                        <a:pt x="1370" y="1646"/>
                      </a:lnTo>
                      <a:lnTo>
                        <a:pt x="1394" y="1662"/>
                      </a:lnTo>
                      <a:lnTo>
                        <a:pt x="1410" y="1664"/>
                      </a:lnTo>
                      <a:lnTo>
                        <a:pt x="1410" y="1664"/>
                      </a:lnTo>
                      <a:lnTo>
                        <a:pt x="1412" y="1664"/>
                      </a:lnTo>
                      <a:lnTo>
                        <a:pt x="1420" y="1660"/>
                      </a:lnTo>
                      <a:lnTo>
                        <a:pt x="1424" y="1660"/>
                      </a:lnTo>
                      <a:lnTo>
                        <a:pt x="1430" y="1662"/>
                      </a:lnTo>
                      <a:lnTo>
                        <a:pt x="1436" y="1664"/>
                      </a:lnTo>
                      <a:lnTo>
                        <a:pt x="1442" y="1670"/>
                      </a:lnTo>
                      <a:lnTo>
                        <a:pt x="1442" y="1670"/>
                      </a:lnTo>
                      <a:lnTo>
                        <a:pt x="1450" y="1674"/>
                      </a:lnTo>
                      <a:lnTo>
                        <a:pt x="1458" y="1676"/>
                      </a:lnTo>
                      <a:lnTo>
                        <a:pt x="1472" y="1680"/>
                      </a:lnTo>
                      <a:lnTo>
                        <a:pt x="1484" y="1678"/>
                      </a:lnTo>
                      <a:lnTo>
                        <a:pt x="1490" y="1678"/>
                      </a:lnTo>
                      <a:lnTo>
                        <a:pt x="1518" y="1656"/>
                      </a:lnTo>
                      <a:lnTo>
                        <a:pt x="1544" y="1636"/>
                      </a:lnTo>
                      <a:lnTo>
                        <a:pt x="1544" y="1636"/>
                      </a:lnTo>
                      <a:lnTo>
                        <a:pt x="1564" y="1626"/>
                      </a:lnTo>
                      <a:lnTo>
                        <a:pt x="1580" y="1618"/>
                      </a:lnTo>
                      <a:lnTo>
                        <a:pt x="1596" y="1614"/>
                      </a:lnTo>
                      <a:lnTo>
                        <a:pt x="1596" y="1614"/>
                      </a:lnTo>
                      <a:lnTo>
                        <a:pt x="1602" y="1612"/>
                      </a:lnTo>
                      <a:lnTo>
                        <a:pt x="1608" y="1608"/>
                      </a:lnTo>
                      <a:lnTo>
                        <a:pt x="1618" y="1598"/>
                      </a:lnTo>
                      <a:lnTo>
                        <a:pt x="1626" y="1588"/>
                      </a:lnTo>
                      <a:lnTo>
                        <a:pt x="1626" y="1588"/>
                      </a:lnTo>
                      <a:lnTo>
                        <a:pt x="1630" y="1582"/>
                      </a:lnTo>
                      <a:lnTo>
                        <a:pt x="1638" y="1572"/>
                      </a:lnTo>
                      <a:lnTo>
                        <a:pt x="1650" y="1562"/>
                      </a:lnTo>
                      <a:lnTo>
                        <a:pt x="1656" y="1558"/>
                      </a:lnTo>
                      <a:lnTo>
                        <a:pt x="1662" y="1558"/>
                      </a:lnTo>
                      <a:lnTo>
                        <a:pt x="1662" y="1558"/>
                      </a:lnTo>
                      <a:lnTo>
                        <a:pt x="1668" y="1558"/>
                      </a:lnTo>
                      <a:lnTo>
                        <a:pt x="1674" y="1556"/>
                      </a:lnTo>
                      <a:lnTo>
                        <a:pt x="1688" y="1550"/>
                      </a:lnTo>
                      <a:lnTo>
                        <a:pt x="1700" y="1540"/>
                      </a:lnTo>
                      <a:lnTo>
                        <a:pt x="1708" y="1534"/>
                      </a:lnTo>
                      <a:lnTo>
                        <a:pt x="1708" y="1534"/>
                      </a:lnTo>
                      <a:lnTo>
                        <a:pt x="1722" y="1514"/>
                      </a:lnTo>
                      <a:lnTo>
                        <a:pt x="1730" y="1500"/>
                      </a:lnTo>
                      <a:lnTo>
                        <a:pt x="1730" y="1500"/>
                      </a:lnTo>
                      <a:lnTo>
                        <a:pt x="1730" y="1498"/>
                      </a:lnTo>
                      <a:lnTo>
                        <a:pt x="1732" y="1492"/>
                      </a:lnTo>
                      <a:lnTo>
                        <a:pt x="1736" y="1488"/>
                      </a:lnTo>
                      <a:lnTo>
                        <a:pt x="1740" y="1484"/>
                      </a:lnTo>
                      <a:lnTo>
                        <a:pt x="1748" y="1480"/>
                      </a:lnTo>
                      <a:lnTo>
                        <a:pt x="1760" y="1476"/>
                      </a:lnTo>
                      <a:lnTo>
                        <a:pt x="1760" y="1476"/>
                      </a:lnTo>
                      <a:lnTo>
                        <a:pt x="1770" y="1472"/>
                      </a:lnTo>
                      <a:lnTo>
                        <a:pt x="1780" y="1466"/>
                      </a:lnTo>
                      <a:lnTo>
                        <a:pt x="1786" y="1460"/>
                      </a:lnTo>
                      <a:lnTo>
                        <a:pt x="1790" y="1454"/>
                      </a:lnTo>
                      <a:lnTo>
                        <a:pt x="1794" y="1442"/>
                      </a:lnTo>
                      <a:lnTo>
                        <a:pt x="1794" y="1438"/>
                      </a:lnTo>
                      <a:lnTo>
                        <a:pt x="1808" y="1386"/>
                      </a:lnTo>
                      <a:lnTo>
                        <a:pt x="1832" y="1346"/>
                      </a:lnTo>
                      <a:lnTo>
                        <a:pt x="1832" y="1302"/>
                      </a:lnTo>
                      <a:lnTo>
                        <a:pt x="1832" y="1302"/>
                      </a:lnTo>
                      <a:lnTo>
                        <a:pt x="1836" y="1284"/>
                      </a:lnTo>
                      <a:lnTo>
                        <a:pt x="1840" y="1270"/>
                      </a:lnTo>
                      <a:lnTo>
                        <a:pt x="1840" y="1256"/>
                      </a:lnTo>
                      <a:lnTo>
                        <a:pt x="1840" y="1256"/>
                      </a:lnTo>
                      <a:lnTo>
                        <a:pt x="1836" y="1242"/>
                      </a:lnTo>
                      <a:lnTo>
                        <a:pt x="1828" y="1222"/>
                      </a:lnTo>
                      <a:lnTo>
                        <a:pt x="1820" y="1198"/>
                      </a:lnTo>
                      <a:lnTo>
                        <a:pt x="1756" y="1098"/>
                      </a:lnTo>
                      <a:lnTo>
                        <a:pt x="1756" y="1098"/>
                      </a:lnTo>
                      <a:lnTo>
                        <a:pt x="1722" y="1066"/>
                      </a:lnTo>
                      <a:lnTo>
                        <a:pt x="1680" y="1028"/>
                      </a:lnTo>
                      <a:lnTo>
                        <a:pt x="1680" y="1028"/>
                      </a:lnTo>
                      <a:lnTo>
                        <a:pt x="1662" y="1020"/>
                      </a:lnTo>
                      <a:lnTo>
                        <a:pt x="1628" y="1006"/>
                      </a:lnTo>
                      <a:lnTo>
                        <a:pt x="1586" y="992"/>
                      </a:lnTo>
                      <a:lnTo>
                        <a:pt x="1544" y="978"/>
                      </a:lnTo>
                      <a:lnTo>
                        <a:pt x="1756" y="960"/>
                      </a:lnTo>
                      <a:lnTo>
                        <a:pt x="1818" y="952"/>
                      </a:lnTo>
                      <a:lnTo>
                        <a:pt x="1882" y="942"/>
                      </a:lnTo>
                      <a:lnTo>
                        <a:pt x="1926" y="918"/>
                      </a:lnTo>
                      <a:lnTo>
                        <a:pt x="1970" y="876"/>
                      </a:lnTo>
                      <a:lnTo>
                        <a:pt x="2012" y="810"/>
                      </a:lnTo>
                      <a:lnTo>
                        <a:pt x="2044" y="734"/>
                      </a:lnTo>
                      <a:lnTo>
                        <a:pt x="2058" y="686"/>
                      </a:lnTo>
                      <a:lnTo>
                        <a:pt x="2086" y="544"/>
                      </a:lnTo>
                      <a:lnTo>
                        <a:pt x="2108" y="452"/>
                      </a:lnTo>
                      <a:lnTo>
                        <a:pt x="2154" y="226"/>
                      </a:lnTo>
                      <a:lnTo>
                        <a:pt x="2164" y="114"/>
                      </a:lnTo>
                      <a:lnTo>
                        <a:pt x="2162" y="70"/>
                      </a:lnTo>
                      <a:close/>
                      <a:moveTo>
                        <a:pt x="1076" y="792"/>
                      </a:moveTo>
                      <a:lnTo>
                        <a:pt x="1076" y="792"/>
                      </a:lnTo>
                      <a:lnTo>
                        <a:pt x="1076" y="790"/>
                      </a:lnTo>
                      <a:lnTo>
                        <a:pt x="1076" y="790"/>
                      </a:lnTo>
                      <a:lnTo>
                        <a:pt x="1076" y="792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18000"/>
                  </a:schemeClr>
                </a:solidFill>
                <a:ln w="9525">
                  <a:solidFill>
                    <a:schemeClr val="bg2">
                      <a:lumMod val="60000"/>
                      <a:lumOff val="40000"/>
                      <a:alpha val="19000"/>
                    </a:schemeClr>
                  </a:solidFill>
                  <a:round/>
                  <a:headEnd/>
                  <a:tailEnd/>
                </a:ln>
                <a:effectLst>
                  <a:glow rad="63500">
                    <a:schemeClr val="bg2">
                      <a:lumMod val="60000"/>
                      <a:lumOff val="40000"/>
                      <a:alpha val="18000"/>
                    </a:schemeClr>
                  </a:glow>
                  <a:softEdge rad="12700"/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2" name="Group 164"/>
              <p:cNvGrpSpPr>
                <a:grpSpLocks noChangeAspect="1"/>
              </p:cNvGrpSpPr>
              <p:nvPr/>
            </p:nvGrpSpPr>
            <p:grpSpPr>
              <a:xfrm rot="20120039">
                <a:off x="8188924" y="3823923"/>
                <a:ext cx="960037" cy="745321"/>
                <a:chOff x="381000" y="3581400"/>
                <a:chExt cx="3435350" cy="2667000"/>
              </a:xfrm>
              <a:solidFill>
                <a:schemeClr val="bg2">
                  <a:lumMod val="60000"/>
                  <a:lumOff val="40000"/>
                  <a:alpha val="18000"/>
                </a:schemeClr>
              </a:solidFill>
            </p:grpSpPr>
            <p:sp>
              <p:nvSpPr>
                <p:cNvPr id="163" name="Freeform 72"/>
                <p:cNvSpPr>
                  <a:spLocks/>
                </p:cNvSpPr>
                <p:nvPr/>
              </p:nvSpPr>
              <p:spPr bwMode="auto">
                <a:xfrm>
                  <a:off x="1644650" y="4162425"/>
                  <a:ext cx="441325" cy="657225"/>
                </a:xfrm>
                <a:custGeom>
                  <a:avLst/>
                  <a:gdLst/>
                  <a:ahLst/>
                  <a:cxnLst>
                    <a:cxn ang="0">
                      <a:pos x="276" y="414"/>
                    </a:cxn>
                    <a:cxn ang="0">
                      <a:pos x="276" y="414"/>
                    </a:cxn>
                    <a:cxn ang="0">
                      <a:pos x="278" y="414"/>
                    </a:cxn>
                    <a:cxn ang="0">
                      <a:pos x="278" y="412"/>
                    </a:cxn>
                    <a:cxn ang="0">
                      <a:pos x="278" y="412"/>
                    </a:cxn>
                    <a:cxn ang="0">
                      <a:pos x="270" y="396"/>
                    </a:cxn>
                    <a:cxn ang="0">
                      <a:pos x="54" y="60"/>
                    </a:cxn>
                    <a:cxn ang="0">
                      <a:pos x="54" y="60"/>
                    </a:cxn>
                    <a:cxn ang="0">
                      <a:pos x="38" y="32"/>
                    </a:cxn>
                    <a:cxn ang="0">
                      <a:pos x="36" y="28"/>
                    </a:cxn>
                    <a:cxn ang="0">
                      <a:pos x="36" y="28"/>
                    </a:cxn>
                    <a:cxn ang="0">
                      <a:pos x="26" y="14"/>
                    </a:cxn>
                    <a:cxn ang="0">
                      <a:pos x="14" y="4"/>
                    </a:cxn>
                    <a:cxn ang="0">
                      <a:pos x="10" y="2"/>
                    </a:cxn>
                    <a:cxn ang="0">
                      <a:pos x="10" y="2"/>
                    </a:cxn>
                    <a:cxn ang="0">
                      <a:pos x="6" y="0"/>
                    </a:cxn>
                    <a:cxn ang="0">
                      <a:pos x="2" y="0"/>
                    </a:cxn>
                    <a:cxn ang="0">
                      <a:pos x="0" y="2"/>
                    </a:cxn>
                    <a:cxn ang="0">
                      <a:pos x="0" y="6"/>
                    </a:cxn>
                    <a:cxn ang="0">
                      <a:pos x="0" y="6"/>
                    </a:cxn>
                    <a:cxn ang="0">
                      <a:pos x="4" y="18"/>
                    </a:cxn>
                    <a:cxn ang="0">
                      <a:pos x="12" y="28"/>
                    </a:cxn>
                    <a:cxn ang="0">
                      <a:pos x="12" y="28"/>
                    </a:cxn>
                    <a:cxn ang="0">
                      <a:pos x="22" y="36"/>
                    </a:cxn>
                    <a:cxn ang="0">
                      <a:pos x="30" y="48"/>
                    </a:cxn>
                    <a:cxn ang="0">
                      <a:pos x="264" y="402"/>
                    </a:cxn>
                    <a:cxn ang="0">
                      <a:pos x="264" y="402"/>
                    </a:cxn>
                    <a:cxn ang="0">
                      <a:pos x="270" y="410"/>
                    </a:cxn>
                    <a:cxn ang="0">
                      <a:pos x="276" y="414"/>
                    </a:cxn>
                    <a:cxn ang="0">
                      <a:pos x="276" y="414"/>
                    </a:cxn>
                  </a:cxnLst>
                  <a:rect l="0" t="0" r="r" b="b"/>
                  <a:pathLst>
                    <a:path w="278" h="414">
                      <a:moveTo>
                        <a:pt x="276" y="414"/>
                      </a:moveTo>
                      <a:lnTo>
                        <a:pt x="276" y="414"/>
                      </a:lnTo>
                      <a:lnTo>
                        <a:pt x="278" y="414"/>
                      </a:lnTo>
                      <a:lnTo>
                        <a:pt x="278" y="412"/>
                      </a:lnTo>
                      <a:lnTo>
                        <a:pt x="278" y="412"/>
                      </a:lnTo>
                      <a:lnTo>
                        <a:pt x="270" y="396"/>
                      </a:lnTo>
                      <a:lnTo>
                        <a:pt x="54" y="60"/>
                      </a:lnTo>
                      <a:lnTo>
                        <a:pt x="54" y="60"/>
                      </a:lnTo>
                      <a:lnTo>
                        <a:pt x="38" y="32"/>
                      </a:lnTo>
                      <a:lnTo>
                        <a:pt x="36" y="28"/>
                      </a:lnTo>
                      <a:lnTo>
                        <a:pt x="36" y="28"/>
                      </a:lnTo>
                      <a:lnTo>
                        <a:pt x="26" y="1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4" y="18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22" y="36"/>
                      </a:lnTo>
                      <a:lnTo>
                        <a:pt x="30" y="48"/>
                      </a:lnTo>
                      <a:lnTo>
                        <a:pt x="264" y="402"/>
                      </a:lnTo>
                      <a:lnTo>
                        <a:pt x="264" y="402"/>
                      </a:lnTo>
                      <a:lnTo>
                        <a:pt x="270" y="410"/>
                      </a:lnTo>
                      <a:lnTo>
                        <a:pt x="276" y="414"/>
                      </a:lnTo>
                      <a:lnTo>
                        <a:pt x="276" y="4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73"/>
                <p:cNvSpPr>
                  <a:spLocks/>
                </p:cNvSpPr>
                <p:nvPr/>
              </p:nvSpPr>
              <p:spPr bwMode="auto">
                <a:xfrm>
                  <a:off x="2089150" y="4835525"/>
                  <a:ext cx="1588" cy="31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74"/>
                <p:cNvSpPr>
                  <a:spLocks/>
                </p:cNvSpPr>
                <p:nvPr/>
              </p:nvSpPr>
              <p:spPr bwMode="auto">
                <a:xfrm>
                  <a:off x="2117725" y="4162425"/>
                  <a:ext cx="444500" cy="657225"/>
                </a:xfrm>
                <a:custGeom>
                  <a:avLst/>
                  <a:gdLst/>
                  <a:ahLst/>
                  <a:cxnLst>
                    <a:cxn ang="0">
                      <a:pos x="4" y="414"/>
                    </a:cxn>
                    <a:cxn ang="0">
                      <a:pos x="4" y="414"/>
                    </a:cxn>
                    <a:cxn ang="0">
                      <a:pos x="8" y="410"/>
                    </a:cxn>
                    <a:cxn ang="0">
                      <a:pos x="16" y="402"/>
                    </a:cxn>
                    <a:cxn ang="0">
                      <a:pos x="248" y="48"/>
                    </a:cxn>
                    <a:cxn ang="0">
                      <a:pos x="248" y="48"/>
                    </a:cxn>
                    <a:cxn ang="0">
                      <a:pos x="258" y="36"/>
                    </a:cxn>
                    <a:cxn ang="0">
                      <a:pos x="266" y="28"/>
                    </a:cxn>
                    <a:cxn ang="0">
                      <a:pos x="266" y="28"/>
                    </a:cxn>
                    <a:cxn ang="0">
                      <a:pos x="274" y="18"/>
                    </a:cxn>
                    <a:cxn ang="0">
                      <a:pos x="280" y="6"/>
                    </a:cxn>
                    <a:cxn ang="0">
                      <a:pos x="280" y="6"/>
                    </a:cxn>
                    <a:cxn ang="0">
                      <a:pos x="280" y="2"/>
                    </a:cxn>
                    <a:cxn ang="0">
                      <a:pos x="278" y="0"/>
                    </a:cxn>
                    <a:cxn ang="0">
                      <a:pos x="274" y="0"/>
                    </a:cxn>
                    <a:cxn ang="0">
                      <a:pos x="268" y="2"/>
                    </a:cxn>
                    <a:cxn ang="0">
                      <a:pos x="266" y="4"/>
                    </a:cxn>
                    <a:cxn ang="0">
                      <a:pos x="266" y="4"/>
                    </a:cxn>
                    <a:cxn ang="0">
                      <a:pos x="254" y="14"/>
                    </a:cxn>
                    <a:cxn ang="0">
                      <a:pos x="244" y="28"/>
                    </a:cxn>
                    <a:cxn ang="0">
                      <a:pos x="240" y="32"/>
                    </a:cxn>
                    <a:cxn ang="0">
                      <a:pos x="240" y="32"/>
                    </a:cxn>
                    <a:cxn ang="0">
                      <a:pos x="224" y="60"/>
                    </a:cxn>
                    <a:cxn ang="0">
                      <a:pos x="10" y="396"/>
                    </a:cxn>
                    <a:cxn ang="0">
                      <a:pos x="10" y="396"/>
                    </a:cxn>
                    <a:cxn ang="0">
                      <a:pos x="0" y="412"/>
                    </a:cxn>
                    <a:cxn ang="0">
                      <a:pos x="0" y="412"/>
                    </a:cxn>
                    <a:cxn ang="0">
                      <a:pos x="0" y="414"/>
                    </a:cxn>
                    <a:cxn ang="0">
                      <a:pos x="0" y="414"/>
                    </a:cxn>
                    <a:cxn ang="0">
                      <a:pos x="4" y="414"/>
                    </a:cxn>
                    <a:cxn ang="0">
                      <a:pos x="4" y="414"/>
                    </a:cxn>
                  </a:cxnLst>
                  <a:rect l="0" t="0" r="r" b="b"/>
                  <a:pathLst>
                    <a:path w="280" h="414">
                      <a:moveTo>
                        <a:pt x="4" y="414"/>
                      </a:moveTo>
                      <a:lnTo>
                        <a:pt x="4" y="414"/>
                      </a:lnTo>
                      <a:lnTo>
                        <a:pt x="8" y="410"/>
                      </a:lnTo>
                      <a:lnTo>
                        <a:pt x="16" y="402"/>
                      </a:lnTo>
                      <a:lnTo>
                        <a:pt x="248" y="48"/>
                      </a:lnTo>
                      <a:lnTo>
                        <a:pt x="248" y="48"/>
                      </a:lnTo>
                      <a:lnTo>
                        <a:pt x="258" y="36"/>
                      </a:lnTo>
                      <a:lnTo>
                        <a:pt x="266" y="28"/>
                      </a:lnTo>
                      <a:lnTo>
                        <a:pt x="266" y="28"/>
                      </a:lnTo>
                      <a:lnTo>
                        <a:pt x="274" y="18"/>
                      </a:lnTo>
                      <a:lnTo>
                        <a:pt x="280" y="6"/>
                      </a:lnTo>
                      <a:lnTo>
                        <a:pt x="280" y="6"/>
                      </a:lnTo>
                      <a:lnTo>
                        <a:pt x="280" y="2"/>
                      </a:lnTo>
                      <a:lnTo>
                        <a:pt x="278" y="0"/>
                      </a:lnTo>
                      <a:lnTo>
                        <a:pt x="274" y="0"/>
                      </a:lnTo>
                      <a:lnTo>
                        <a:pt x="268" y="2"/>
                      </a:lnTo>
                      <a:lnTo>
                        <a:pt x="266" y="4"/>
                      </a:lnTo>
                      <a:lnTo>
                        <a:pt x="266" y="4"/>
                      </a:lnTo>
                      <a:lnTo>
                        <a:pt x="254" y="14"/>
                      </a:lnTo>
                      <a:lnTo>
                        <a:pt x="244" y="28"/>
                      </a:lnTo>
                      <a:lnTo>
                        <a:pt x="240" y="32"/>
                      </a:lnTo>
                      <a:lnTo>
                        <a:pt x="240" y="32"/>
                      </a:lnTo>
                      <a:lnTo>
                        <a:pt x="224" y="60"/>
                      </a:lnTo>
                      <a:lnTo>
                        <a:pt x="10" y="396"/>
                      </a:lnTo>
                      <a:lnTo>
                        <a:pt x="10" y="396"/>
                      </a:lnTo>
                      <a:lnTo>
                        <a:pt x="0" y="412"/>
                      </a:lnTo>
                      <a:lnTo>
                        <a:pt x="0" y="412"/>
                      </a:lnTo>
                      <a:lnTo>
                        <a:pt x="0" y="414"/>
                      </a:lnTo>
                      <a:lnTo>
                        <a:pt x="0" y="414"/>
                      </a:lnTo>
                      <a:lnTo>
                        <a:pt x="4" y="414"/>
                      </a:lnTo>
                      <a:lnTo>
                        <a:pt x="4" y="4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Freeform 75"/>
                <p:cNvSpPr>
                  <a:spLocks noEditPoints="1"/>
                </p:cNvSpPr>
                <p:nvPr/>
              </p:nvSpPr>
              <p:spPr bwMode="auto">
                <a:xfrm rot="813286">
                  <a:off x="381000" y="3581400"/>
                  <a:ext cx="3435350" cy="2667000"/>
                </a:xfrm>
                <a:custGeom>
                  <a:avLst/>
                  <a:gdLst/>
                  <a:ahLst/>
                  <a:cxnLst>
                    <a:cxn ang="0">
                      <a:pos x="2160" y="44"/>
                    </a:cxn>
                    <a:cxn ang="0">
                      <a:pos x="2102" y="6"/>
                    </a:cxn>
                    <a:cxn ang="0">
                      <a:pos x="1752" y="118"/>
                    </a:cxn>
                    <a:cxn ang="0">
                      <a:pos x="1142" y="870"/>
                    </a:cxn>
                    <a:cxn ang="0">
                      <a:pos x="1126" y="832"/>
                    </a:cxn>
                    <a:cxn ang="0">
                      <a:pos x="1126" y="794"/>
                    </a:cxn>
                    <a:cxn ang="0">
                      <a:pos x="1100" y="780"/>
                    </a:cxn>
                    <a:cxn ang="0">
                      <a:pos x="1080" y="778"/>
                    </a:cxn>
                    <a:cxn ang="0">
                      <a:pos x="1068" y="788"/>
                    </a:cxn>
                    <a:cxn ang="0">
                      <a:pos x="1034" y="802"/>
                    </a:cxn>
                    <a:cxn ang="0">
                      <a:pos x="1024" y="846"/>
                    </a:cxn>
                    <a:cxn ang="0">
                      <a:pos x="690" y="370"/>
                    </a:cxn>
                    <a:cxn ang="0">
                      <a:pos x="118" y="0"/>
                    </a:cxn>
                    <a:cxn ang="0">
                      <a:pos x="32" y="18"/>
                    </a:cxn>
                    <a:cxn ang="0">
                      <a:pos x="2" y="64"/>
                    </a:cxn>
                    <a:cxn ang="0">
                      <a:pos x="108" y="686"/>
                    </a:cxn>
                    <a:cxn ang="0">
                      <a:pos x="348" y="952"/>
                    </a:cxn>
                    <a:cxn ang="0">
                      <a:pos x="504" y="1020"/>
                    </a:cxn>
                    <a:cxn ang="0">
                      <a:pos x="346" y="1198"/>
                    </a:cxn>
                    <a:cxn ang="0">
                      <a:pos x="330" y="1284"/>
                    </a:cxn>
                    <a:cxn ang="0">
                      <a:pos x="372" y="1442"/>
                    </a:cxn>
                    <a:cxn ang="0">
                      <a:pos x="406" y="1476"/>
                    </a:cxn>
                    <a:cxn ang="0">
                      <a:pos x="436" y="1500"/>
                    </a:cxn>
                    <a:cxn ang="0">
                      <a:pos x="478" y="1550"/>
                    </a:cxn>
                    <a:cxn ang="0">
                      <a:pos x="516" y="1562"/>
                    </a:cxn>
                    <a:cxn ang="0">
                      <a:pos x="558" y="1608"/>
                    </a:cxn>
                    <a:cxn ang="0">
                      <a:pos x="622" y="1636"/>
                    </a:cxn>
                    <a:cxn ang="0">
                      <a:pos x="708" y="1676"/>
                    </a:cxn>
                    <a:cxn ang="0">
                      <a:pos x="742" y="1660"/>
                    </a:cxn>
                    <a:cxn ang="0">
                      <a:pos x="836" y="1606"/>
                    </a:cxn>
                    <a:cxn ang="0">
                      <a:pos x="892" y="1528"/>
                    </a:cxn>
                    <a:cxn ang="0">
                      <a:pos x="1012" y="1188"/>
                    </a:cxn>
                    <a:cxn ang="0">
                      <a:pos x="1016" y="1342"/>
                    </a:cxn>
                    <a:cxn ang="0">
                      <a:pos x="1018" y="1494"/>
                    </a:cxn>
                    <a:cxn ang="0">
                      <a:pos x="1120" y="1598"/>
                    </a:cxn>
                    <a:cxn ang="0">
                      <a:pos x="1146" y="1430"/>
                    </a:cxn>
                    <a:cxn ang="0">
                      <a:pos x="1128" y="1158"/>
                    </a:cxn>
                    <a:cxn ang="0">
                      <a:pos x="1150" y="1176"/>
                    </a:cxn>
                    <a:cxn ang="0">
                      <a:pos x="1274" y="1528"/>
                    </a:cxn>
                    <a:cxn ang="0">
                      <a:pos x="1370" y="1646"/>
                    </a:cxn>
                    <a:cxn ang="0">
                      <a:pos x="1424" y="1660"/>
                    </a:cxn>
                    <a:cxn ang="0">
                      <a:pos x="1458" y="1676"/>
                    </a:cxn>
                    <a:cxn ang="0">
                      <a:pos x="1544" y="1636"/>
                    </a:cxn>
                    <a:cxn ang="0">
                      <a:pos x="1608" y="1608"/>
                    </a:cxn>
                    <a:cxn ang="0">
                      <a:pos x="1650" y="1562"/>
                    </a:cxn>
                    <a:cxn ang="0">
                      <a:pos x="1688" y="1550"/>
                    </a:cxn>
                    <a:cxn ang="0">
                      <a:pos x="1730" y="1500"/>
                    </a:cxn>
                    <a:cxn ang="0">
                      <a:pos x="1760" y="1476"/>
                    </a:cxn>
                    <a:cxn ang="0">
                      <a:pos x="1794" y="1442"/>
                    </a:cxn>
                    <a:cxn ang="0">
                      <a:pos x="1836" y="1284"/>
                    </a:cxn>
                    <a:cxn ang="0">
                      <a:pos x="1820" y="1198"/>
                    </a:cxn>
                    <a:cxn ang="0">
                      <a:pos x="1662" y="1020"/>
                    </a:cxn>
                    <a:cxn ang="0">
                      <a:pos x="1882" y="942"/>
                    </a:cxn>
                    <a:cxn ang="0">
                      <a:pos x="2086" y="544"/>
                    </a:cxn>
                    <a:cxn ang="0">
                      <a:pos x="1076" y="792"/>
                    </a:cxn>
                  </a:cxnLst>
                  <a:rect l="0" t="0" r="r" b="b"/>
                  <a:pathLst>
                    <a:path w="2164" h="1680">
                      <a:moveTo>
                        <a:pt x="2162" y="70"/>
                      </a:moveTo>
                      <a:lnTo>
                        <a:pt x="2162" y="70"/>
                      </a:lnTo>
                      <a:lnTo>
                        <a:pt x="2164" y="64"/>
                      </a:lnTo>
                      <a:lnTo>
                        <a:pt x="2164" y="60"/>
                      </a:lnTo>
                      <a:lnTo>
                        <a:pt x="2164" y="52"/>
                      </a:lnTo>
                      <a:lnTo>
                        <a:pt x="2160" y="44"/>
                      </a:lnTo>
                      <a:lnTo>
                        <a:pt x="2156" y="36"/>
                      </a:lnTo>
                      <a:lnTo>
                        <a:pt x="2146" y="28"/>
                      </a:lnTo>
                      <a:lnTo>
                        <a:pt x="2134" y="18"/>
                      </a:lnTo>
                      <a:lnTo>
                        <a:pt x="2134" y="18"/>
                      </a:lnTo>
                      <a:lnTo>
                        <a:pt x="2118" y="12"/>
                      </a:lnTo>
                      <a:lnTo>
                        <a:pt x="2102" y="6"/>
                      </a:lnTo>
                      <a:lnTo>
                        <a:pt x="2086" y="4"/>
                      </a:lnTo>
                      <a:lnTo>
                        <a:pt x="2072" y="2"/>
                      </a:lnTo>
                      <a:lnTo>
                        <a:pt x="2048" y="0"/>
                      </a:lnTo>
                      <a:lnTo>
                        <a:pt x="2038" y="0"/>
                      </a:lnTo>
                      <a:lnTo>
                        <a:pt x="1904" y="40"/>
                      </a:lnTo>
                      <a:lnTo>
                        <a:pt x="1752" y="118"/>
                      </a:lnTo>
                      <a:lnTo>
                        <a:pt x="1598" y="244"/>
                      </a:lnTo>
                      <a:lnTo>
                        <a:pt x="1476" y="370"/>
                      </a:lnTo>
                      <a:lnTo>
                        <a:pt x="1312" y="580"/>
                      </a:lnTo>
                      <a:lnTo>
                        <a:pt x="1216" y="732"/>
                      </a:lnTo>
                      <a:lnTo>
                        <a:pt x="1160" y="836"/>
                      </a:lnTo>
                      <a:lnTo>
                        <a:pt x="1142" y="870"/>
                      </a:lnTo>
                      <a:lnTo>
                        <a:pt x="1142" y="870"/>
                      </a:lnTo>
                      <a:lnTo>
                        <a:pt x="1142" y="860"/>
                      </a:lnTo>
                      <a:lnTo>
                        <a:pt x="1142" y="860"/>
                      </a:lnTo>
                      <a:lnTo>
                        <a:pt x="1142" y="856"/>
                      </a:lnTo>
                      <a:lnTo>
                        <a:pt x="1138" y="848"/>
                      </a:lnTo>
                      <a:lnTo>
                        <a:pt x="1126" y="832"/>
                      </a:lnTo>
                      <a:lnTo>
                        <a:pt x="1126" y="832"/>
                      </a:lnTo>
                      <a:lnTo>
                        <a:pt x="1132" y="822"/>
                      </a:lnTo>
                      <a:lnTo>
                        <a:pt x="1134" y="812"/>
                      </a:lnTo>
                      <a:lnTo>
                        <a:pt x="1134" y="812"/>
                      </a:lnTo>
                      <a:lnTo>
                        <a:pt x="1132" y="802"/>
                      </a:lnTo>
                      <a:lnTo>
                        <a:pt x="1126" y="794"/>
                      </a:lnTo>
                      <a:lnTo>
                        <a:pt x="1118" y="788"/>
                      </a:lnTo>
                      <a:lnTo>
                        <a:pt x="1108" y="786"/>
                      </a:lnTo>
                      <a:lnTo>
                        <a:pt x="1108" y="786"/>
                      </a:lnTo>
                      <a:lnTo>
                        <a:pt x="1104" y="786"/>
                      </a:lnTo>
                      <a:lnTo>
                        <a:pt x="1108" y="780"/>
                      </a:lnTo>
                      <a:lnTo>
                        <a:pt x="1100" y="780"/>
                      </a:lnTo>
                      <a:lnTo>
                        <a:pt x="1094" y="780"/>
                      </a:lnTo>
                      <a:lnTo>
                        <a:pt x="1094" y="780"/>
                      </a:lnTo>
                      <a:lnTo>
                        <a:pt x="1086" y="774"/>
                      </a:lnTo>
                      <a:lnTo>
                        <a:pt x="1086" y="776"/>
                      </a:lnTo>
                      <a:lnTo>
                        <a:pt x="1084" y="774"/>
                      </a:lnTo>
                      <a:lnTo>
                        <a:pt x="1080" y="778"/>
                      </a:lnTo>
                      <a:lnTo>
                        <a:pt x="1074" y="776"/>
                      </a:lnTo>
                      <a:lnTo>
                        <a:pt x="1074" y="780"/>
                      </a:lnTo>
                      <a:lnTo>
                        <a:pt x="1068" y="780"/>
                      </a:lnTo>
                      <a:lnTo>
                        <a:pt x="1064" y="780"/>
                      </a:lnTo>
                      <a:lnTo>
                        <a:pt x="1068" y="788"/>
                      </a:lnTo>
                      <a:lnTo>
                        <a:pt x="1068" y="788"/>
                      </a:lnTo>
                      <a:lnTo>
                        <a:pt x="1068" y="788"/>
                      </a:lnTo>
                      <a:lnTo>
                        <a:pt x="1058" y="786"/>
                      </a:lnTo>
                      <a:lnTo>
                        <a:pt x="1058" y="786"/>
                      </a:lnTo>
                      <a:lnTo>
                        <a:pt x="1048" y="788"/>
                      </a:lnTo>
                      <a:lnTo>
                        <a:pt x="1040" y="794"/>
                      </a:lnTo>
                      <a:lnTo>
                        <a:pt x="1034" y="802"/>
                      </a:lnTo>
                      <a:lnTo>
                        <a:pt x="1032" y="812"/>
                      </a:lnTo>
                      <a:lnTo>
                        <a:pt x="1032" y="812"/>
                      </a:lnTo>
                      <a:lnTo>
                        <a:pt x="1034" y="820"/>
                      </a:lnTo>
                      <a:lnTo>
                        <a:pt x="1036" y="828"/>
                      </a:lnTo>
                      <a:lnTo>
                        <a:pt x="1036" y="828"/>
                      </a:lnTo>
                      <a:lnTo>
                        <a:pt x="1024" y="846"/>
                      </a:lnTo>
                      <a:lnTo>
                        <a:pt x="1020" y="854"/>
                      </a:lnTo>
                      <a:lnTo>
                        <a:pt x="1018" y="860"/>
                      </a:lnTo>
                      <a:lnTo>
                        <a:pt x="1006" y="836"/>
                      </a:lnTo>
                      <a:lnTo>
                        <a:pt x="950" y="732"/>
                      </a:lnTo>
                      <a:lnTo>
                        <a:pt x="854" y="580"/>
                      </a:lnTo>
                      <a:lnTo>
                        <a:pt x="690" y="370"/>
                      </a:lnTo>
                      <a:lnTo>
                        <a:pt x="568" y="244"/>
                      </a:lnTo>
                      <a:lnTo>
                        <a:pt x="412" y="118"/>
                      </a:lnTo>
                      <a:lnTo>
                        <a:pt x="262" y="40"/>
                      </a:lnTo>
                      <a:lnTo>
                        <a:pt x="128" y="0"/>
                      </a:lnTo>
                      <a:lnTo>
                        <a:pt x="128" y="0"/>
                      </a:lnTo>
                      <a:lnTo>
                        <a:pt x="118" y="0"/>
                      </a:lnTo>
                      <a:lnTo>
                        <a:pt x="94" y="2"/>
                      </a:lnTo>
                      <a:lnTo>
                        <a:pt x="80" y="4"/>
                      </a:lnTo>
                      <a:lnTo>
                        <a:pt x="64" y="6"/>
                      </a:lnTo>
                      <a:lnTo>
                        <a:pt x="48" y="12"/>
                      </a:lnTo>
                      <a:lnTo>
                        <a:pt x="32" y="18"/>
                      </a:lnTo>
                      <a:lnTo>
                        <a:pt x="32" y="18"/>
                      </a:lnTo>
                      <a:lnTo>
                        <a:pt x="20" y="28"/>
                      </a:lnTo>
                      <a:lnTo>
                        <a:pt x="10" y="36"/>
                      </a:lnTo>
                      <a:lnTo>
                        <a:pt x="6" y="44"/>
                      </a:lnTo>
                      <a:lnTo>
                        <a:pt x="2" y="52"/>
                      </a:lnTo>
                      <a:lnTo>
                        <a:pt x="2" y="60"/>
                      </a:lnTo>
                      <a:lnTo>
                        <a:pt x="2" y="64"/>
                      </a:lnTo>
                      <a:lnTo>
                        <a:pt x="4" y="70"/>
                      </a:lnTo>
                      <a:lnTo>
                        <a:pt x="0" y="114"/>
                      </a:lnTo>
                      <a:lnTo>
                        <a:pt x="12" y="226"/>
                      </a:lnTo>
                      <a:lnTo>
                        <a:pt x="58" y="452"/>
                      </a:lnTo>
                      <a:lnTo>
                        <a:pt x="80" y="544"/>
                      </a:lnTo>
                      <a:lnTo>
                        <a:pt x="108" y="686"/>
                      </a:lnTo>
                      <a:lnTo>
                        <a:pt x="122" y="734"/>
                      </a:lnTo>
                      <a:lnTo>
                        <a:pt x="154" y="810"/>
                      </a:lnTo>
                      <a:lnTo>
                        <a:pt x="196" y="876"/>
                      </a:lnTo>
                      <a:lnTo>
                        <a:pt x="240" y="918"/>
                      </a:lnTo>
                      <a:lnTo>
                        <a:pt x="284" y="942"/>
                      </a:lnTo>
                      <a:lnTo>
                        <a:pt x="348" y="952"/>
                      </a:lnTo>
                      <a:lnTo>
                        <a:pt x="410" y="960"/>
                      </a:lnTo>
                      <a:lnTo>
                        <a:pt x="622" y="978"/>
                      </a:lnTo>
                      <a:lnTo>
                        <a:pt x="622" y="978"/>
                      </a:lnTo>
                      <a:lnTo>
                        <a:pt x="580" y="992"/>
                      </a:lnTo>
                      <a:lnTo>
                        <a:pt x="538" y="1006"/>
                      </a:lnTo>
                      <a:lnTo>
                        <a:pt x="504" y="1020"/>
                      </a:lnTo>
                      <a:lnTo>
                        <a:pt x="486" y="1028"/>
                      </a:lnTo>
                      <a:lnTo>
                        <a:pt x="486" y="1028"/>
                      </a:lnTo>
                      <a:lnTo>
                        <a:pt x="444" y="1066"/>
                      </a:lnTo>
                      <a:lnTo>
                        <a:pt x="410" y="1098"/>
                      </a:lnTo>
                      <a:lnTo>
                        <a:pt x="346" y="1198"/>
                      </a:lnTo>
                      <a:lnTo>
                        <a:pt x="346" y="1198"/>
                      </a:lnTo>
                      <a:lnTo>
                        <a:pt x="338" y="1222"/>
                      </a:lnTo>
                      <a:lnTo>
                        <a:pt x="330" y="1242"/>
                      </a:lnTo>
                      <a:lnTo>
                        <a:pt x="326" y="1256"/>
                      </a:lnTo>
                      <a:lnTo>
                        <a:pt x="326" y="1256"/>
                      </a:lnTo>
                      <a:lnTo>
                        <a:pt x="326" y="1270"/>
                      </a:lnTo>
                      <a:lnTo>
                        <a:pt x="330" y="1284"/>
                      </a:lnTo>
                      <a:lnTo>
                        <a:pt x="334" y="1302"/>
                      </a:lnTo>
                      <a:lnTo>
                        <a:pt x="334" y="1346"/>
                      </a:lnTo>
                      <a:lnTo>
                        <a:pt x="358" y="1386"/>
                      </a:lnTo>
                      <a:lnTo>
                        <a:pt x="370" y="1438"/>
                      </a:lnTo>
                      <a:lnTo>
                        <a:pt x="370" y="1438"/>
                      </a:lnTo>
                      <a:lnTo>
                        <a:pt x="372" y="1442"/>
                      </a:lnTo>
                      <a:lnTo>
                        <a:pt x="376" y="1454"/>
                      </a:lnTo>
                      <a:lnTo>
                        <a:pt x="380" y="1460"/>
                      </a:lnTo>
                      <a:lnTo>
                        <a:pt x="386" y="1466"/>
                      </a:lnTo>
                      <a:lnTo>
                        <a:pt x="396" y="1472"/>
                      </a:lnTo>
                      <a:lnTo>
                        <a:pt x="406" y="1476"/>
                      </a:lnTo>
                      <a:lnTo>
                        <a:pt x="406" y="1476"/>
                      </a:lnTo>
                      <a:lnTo>
                        <a:pt x="418" y="1480"/>
                      </a:lnTo>
                      <a:lnTo>
                        <a:pt x="424" y="1484"/>
                      </a:lnTo>
                      <a:lnTo>
                        <a:pt x="430" y="1488"/>
                      </a:lnTo>
                      <a:lnTo>
                        <a:pt x="434" y="1492"/>
                      </a:lnTo>
                      <a:lnTo>
                        <a:pt x="436" y="1498"/>
                      </a:lnTo>
                      <a:lnTo>
                        <a:pt x="436" y="1500"/>
                      </a:lnTo>
                      <a:lnTo>
                        <a:pt x="436" y="1500"/>
                      </a:lnTo>
                      <a:lnTo>
                        <a:pt x="444" y="1514"/>
                      </a:lnTo>
                      <a:lnTo>
                        <a:pt x="458" y="1534"/>
                      </a:lnTo>
                      <a:lnTo>
                        <a:pt x="458" y="1534"/>
                      </a:lnTo>
                      <a:lnTo>
                        <a:pt x="466" y="1540"/>
                      </a:lnTo>
                      <a:lnTo>
                        <a:pt x="478" y="1550"/>
                      </a:lnTo>
                      <a:lnTo>
                        <a:pt x="490" y="1556"/>
                      </a:lnTo>
                      <a:lnTo>
                        <a:pt x="498" y="1558"/>
                      </a:lnTo>
                      <a:lnTo>
                        <a:pt x="504" y="1558"/>
                      </a:lnTo>
                      <a:lnTo>
                        <a:pt x="504" y="1558"/>
                      </a:lnTo>
                      <a:lnTo>
                        <a:pt x="510" y="1558"/>
                      </a:lnTo>
                      <a:lnTo>
                        <a:pt x="516" y="1562"/>
                      </a:lnTo>
                      <a:lnTo>
                        <a:pt x="528" y="1572"/>
                      </a:lnTo>
                      <a:lnTo>
                        <a:pt x="536" y="1582"/>
                      </a:lnTo>
                      <a:lnTo>
                        <a:pt x="540" y="1588"/>
                      </a:lnTo>
                      <a:lnTo>
                        <a:pt x="540" y="1588"/>
                      </a:lnTo>
                      <a:lnTo>
                        <a:pt x="548" y="1598"/>
                      </a:lnTo>
                      <a:lnTo>
                        <a:pt x="558" y="1608"/>
                      </a:lnTo>
                      <a:lnTo>
                        <a:pt x="564" y="1612"/>
                      </a:lnTo>
                      <a:lnTo>
                        <a:pt x="570" y="1614"/>
                      </a:lnTo>
                      <a:lnTo>
                        <a:pt x="570" y="1614"/>
                      </a:lnTo>
                      <a:lnTo>
                        <a:pt x="586" y="1618"/>
                      </a:lnTo>
                      <a:lnTo>
                        <a:pt x="602" y="1626"/>
                      </a:lnTo>
                      <a:lnTo>
                        <a:pt x="622" y="1636"/>
                      </a:lnTo>
                      <a:lnTo>
                        <a:pt x="648" y="1656"/>
                      </a:lnTo>
                      <a:lnTo>
                        <a:pt x="676" y="1678"/>
                      </a:lnTo>
                      <a:lnTo>
                        <a:pt x="676" y="1678"/>
                      </a:lnTo>
                      <a:lnTo>
                        <a:pt x="682" y="1678"/>
                      </a:lnTo>
                      <a:lnTo>
                        <a:pt x="694" y="1680"/>
                      </a:lnTo>
                      <a:lnTo>
                        <a:pt x="708" y="1676"/>
                      </a:lnTo>
                      <a:lnTo>
                        <a:pt x="716" y="1674"/>
                      </a:lnTo>
                      <a:lnTo>
                        <a:pt x="724" y="1670"/>
                      </a:lnTo>
                      <a:lnTo>
                        <a:pt x="724" y="1670"/>
                      </a:lnTo>
                      <a:lnTo>
                        <a:pt x="730" y="1664"/>
                      </a:lnTo>
                      <a:lnTo>
                        <a:pt x="736" y="1662"/>
                      </a:lnTo>
                      <a:lnTo>
                        <a:pt x="742" y="1660"/>
                      </a:lnTo>
                      <a:lnTo>
                        <a:pt x="746" y="1660"/>
                      </a:lnTo>
                      <a:lnTo>
                        <a:pt x="754" y="1664"/>
                      </a:lnTo>
                      <a:lnTo>
                        <a:pt x="756" y="1664"/>
                      </a:lnTo>
                      <a:lnTo>
                        <a:pt x="772" y="1662"/>
                      </a:lnTo>
                      <a:lnTo>
                        <a:pt x="796" y="1646"/>
                      </a:lnTo>
                      <a:lnTo>
                        <a:pt x="836" y="1606"/>
                      </a:lnTo>
                      <a:lnTo>
                        <a:pt x="836" y="1606"/>
                      </a:lnTo>
                      <a:lnTo>
                        <a:pt x="840" y="1602"/>
                      </a:lnTo>
                      <a:lnTo>
                        <a:pt x="852" y="1588"/>
                      </a:lnTo>
                      <a:lnTo>
                        <a:pt x="870" y="1564"/>
                      </a:lnTo>
                      <a:lnTo>
                        <a:pt x="892" y="1528"/>
                      </a:lnTo>
                      <a:lnTo>
                        <a:pt x="892" y="1528"/>
                      </a:lnTo>
                      <a:lnTo>
                        <a:pt x="914" y="1478"/>
                      </a:lnTo>
                      <a:lnTo>
                        <a:pt x="938" y="1424"/>
                      </a:lnTo>
                      <a:lnTo>
                        <a:pt x="964" y="1362"/>
                      </a:lnTo>
                      <a:lnTo>
                        <a:pt x="964" y="1362"/>
                      </a:lnTo>
                      <a:lnTo>
                        <a:pt x="988" y="1268"/>
                      </a:lnTo>
                      <a:lnTo>
                        <a:pt x="1012" y="1188"/>
                      </a:lnTo>
                      <a:lnTo>
                        <a:pt x="1034" y="1116"/>
                      </a:lnTo>
                      <a:lnTo>
                        <a:pt x="1032" y="1158"/>
                      </a:lnTo>
                      <a:lnTo>
                        <a:pt x="1024" y="1232"/>
                      </a:lnTo>
                      <a:lnTo>
                        <a:pt x="1026" y="1256"/>
                      </a:lnTo>
                      <a:lnTo>
                        <a:pt x="1016" y="1290"/>
                      </a:lnTo>
                      <a:lnTo>
                        <a:pt x="1016" y="1342"/>
                      </a:lnTo>
                      <a:lnTo>
                        <a:pt x="1016" y="1356"/>
                      </a:lnTo>
                      <a:lnTo>
                        <a:pt x="1016" y="1430"/>
                      </a:lnTo>
                      <a:lnTo>
                        <a:pt x="1026" y="1436"/>
                      </a:lnTo>
                      <a:lnTo>
                        <a:pt x="1026" y="1446"/>
                      </a:lnTo>
                      <a:lnTo>
                        <a:pt x="1016" y="1458"/>
                      </a:lnTo>
                      <a:lnTo>
                        <a:pt x="1018" y="1494"/>
                      </a:lnTo>
                      <a:lnTo>
                        <a:pt x="1018" y="1552"/>
                      </a:lnTo>
                      <a:lnTo>
                        <a:pt x="1040" y="1598"/>
                      </a:lnTo>
                      <a:lnTo>
                        <a:pt x="1076" y="1628"/>
                      </a:lnTo>
                      <a:lnTo>
                        <a:pt x="1080" y="1596"/>
                      </a:lnTo>
                      <a:lnTo>
                        <a:pt x="1084" y="1628"/>
                      </a:lnTo>
                      <a:lnTo>
                        <a:pt x="1120" y="1598"/>
                      </a:lnTo>
                      <a:lnTo>
                        <a:pt x="1142" y="1552"/>
                      </a:lnTo>
                      <a:lnTo>
                        <a:pt x="1142" y="1494"/>
                      </a:lnTo>
                      <a:lnTo>
                        <a:pt x="1146" y="1458"/>
                      </a:lnTo>
                      <a:lnTo>
                        <a:pt x="1134" y="1446"/>
                      </a:lnTo>
                      <a:lnTo>
                        <a:pt x="1134" y="1436"/>
                      </a:lnTo>
                      <a:lnTo>
                        <a:pt x="1146" y="1430"/>
                      </a:lnTo>
                      <a:lnTo>
                        <a:pt x="1146" y="1356"/>
                      </a:lnTo>
                      <a:lnTo>
                        <a:pt x="1146" y="1342"/>
                      </a:lnTo>
                      <a:lnTo>
                        <a:pt x="1146" y="1290"/>
                      </a:lnTo>
                      <a:lnTo>
                        <a:pt x="1134" y="1256"/>
                      </a:lnTo>
                      <a:lnTo>
                        <a:pt x="1136" y="1232"/>
                      </a:lnTo>
                      <a:lnTo>
                        <a:pt x="1128" y="1158"/>
                      </a:lnTo>
                      <a:lnTo>
                        <a:pt x="1126" y="1116"/>
                      </a:lnTo>
                      <a:lnTo>
                        <a:pt x="1126" y="1116"/>
                      </a:lnTo>
                      <a:lnTo>
                        <a:pt x="1126" y="1106"/>
                      </a:lnTo>
                      <a:lnTo>
                        <a:pt x="1126" y="1106"/>
                      </a:lnTo>
                      <a:lnTo>
                        <a:pt x="1138" y="1136"/>
                      </a:lnTo>
                      <a:lnTo>
                        <a:pt x="1150" y="1176"/>
                      </a:lnTo>
                      <a:lnTo>
                        <a:pt x="1174" y="1260"/>
                      </a:lnTo>
                      <a:lnTo>
                        <a:pt x="1202" y="1362"/>
                      </a:lnTo>
                      <a:lnTo>
                        <a:pt x="1202" y="1362"/>
                      </a:lnTo>
                      <a:lnTo>
                        <a:pt x="1228" y="1424"/>
                      </a:lnTo>
                      <a:lnTo>
                        <a:pt x="1250" y="1478"/>
                      </a:lnTo>
                      <a:lnTo>
                        <a:pt x="1274" y="1528"/>
                      </a:lnTo>
                      <a:lnTo>
                        <a:pt x="1274" y="1528"/>
                      </a:lnTo>
                      <a:lnTo>
                        <a:pt x="1296" y="1564"/>
                      </a:lnTo>
                      <a:lnTo>
                        <a:pt x="1312" y="1588"/>
                      </a:lnTo>
                      <a:lnTo>
                        <a:pt x="1326" y="1602"/>
                      </a:lnTo>
                      <a:lnTo>
                        <a:pt x="1330" y="1606"/>
                      </a:lnTo>
                      <a:lnTo>
                        <a:pt x="1370" y="1646"/>
                      </a:lnTo>
                      <a:lnTo>
                        <a:pt x="1394" y="1662"/>
                      </a:lnTo>
                      <a:lnTo>
                        <a:pt x="1410" y="1664"/>
                      </a:lnTo>
                      <a:lnTo>
                        <a:pt x="1410" y="1664"/>
                      </a:lnTo>
                      <a:lnTo>
                        <a:pt x="1412" y="1664"/>
                      </a:lnTo>
                      <a:lnTo>
                        <a:pt x="1420" y="1660"/>
                      </a:lnTo>
                      <a:lnTo>
                        <a:pt x="1424" y="1660"/>
                      </a:lnTo>
                      <a:lnTo>
                        <a:pt x="1430" y="1662"/>
                      </a:lnTo>
                      <a:lnTo>
                        <a:pt x="1436" y="1664"/>
                      </a:lnTo>
                      <a:lnTo>
                        <a:pt x="1442" y="1670"/>
                      </a:lnTo>
                      <a:lnTo>
                        <a:pt x="1442" y="1670"/>
                      </a:lnTo>
                      <a:lnTo>
                        <a:pt x="1450" y="1674"/>
                      </a:lnTo>
                      <a:lnTo>
                        <a:pt x="1458" y="1676"/>
                      </a:lnTo>
                      <a:lnTo>
                        <a:pt x="1472" y="1680"/>
                      </a:lnTo>
                      <a:lnTo>
                        <a:pt x="1484" y="1678"/>
                      </a:lnTo>
                      <a:lnTo>
                        <a:pt x="1490" y="1678"/>
                      </a:lnTo>
                      <a:lnTo>
                        <a:pt x="1518" y="1656"/>
                      </a:lnTo>
                      <a:lnTo>
                        <a:pt x="1544" y="1636"/>
                      </a:lnTo>
                      <a:lnTo>
                        <a:pt x="1544" y="1636"/>
                      </a:lnTo>
                      <a:lnTo>
                        <a:pt x="1564" y="1626"/>
                      </a:lnTo>
                      <a:lnTo>
                        <a:pt x="1580" y="1618"/>
                      </a:lnTo>
                      <a:lnTo>
                        <a:pt x="1596" y="1614"/>
                      </a:lnTo>
                      <a:lnTo>
                        <a:pt x="1596" y="1614"/>
                      </a:lnTo>
                      <a:lnTo>
                        <a:pt x="1602" y="1612"/>
                      </a:lnTo>
                      <a:lnTo>
                        <a:pt x="1608" y="1608"/>
                      </a:lnTo>
                      <a:lnTo>
                        <a:pt x="1618" y="1598"/>
                      </a:lnTo>
                      <a:lnTo>
                        <a:pt x="1626" y="1588"/>
                      </a:lnTo>
                      <a:lnTo>
                        <a:pt x="1626" y="1588"/>
                      </a:lnTo>
                      <a:lnTo>
                        <a:pt x="1630" y="1582"/>
                      </a:lnTo>
                      <a:lnTo>
                        <a:pt x="1638" y="1572"/>
                      </a:lnTo>
                      <a:lnTo>
                        <a:pt x="1650" y="1562"/>
                      </a:lnTo>
                      <a:lnTo>
                        <a:pt x="1656" y="1558"/>
                      </a:lnTo>
                      <a:lnTo>
                        <a:pt x="1662" y="1558"/>
                      </a:lnTo>
                      <a:lnTo>
                        <a:pt x="1662" y="1558"/>
                      </a:lnTo>
                      <a:lnTo>
                        <a:pt x="1668" y="1558"/>
                      </a:lnTo>
                      <a:lnTo>
                        <a:pt x="1674" y="1556"/>
                      </a:lnTo>
                      <a:lnTo>
                        <a:pt x="1688" y="1550"/>
                      </a:lnTo>
                      <a:lnTo>
                        <a:pt x="1700" y="1540"/>
                      </a:lnTo>
                      <a:lnTo>
                        <a:pt x="1708" y="1534"/>
                      </a:lnTo>
                      <a:lnTo>
                        <a:pt x="1708" y="1534"/>
                      </a:lnTo>
                      <a:lnTo>
                        <a:pt x="1722" y="1514"/>
                      </a:lnTo>
                      <a:lnTo>
                        <a:pt x="1730" y="1500"/>
                      </a:lnTo>
                      <a:lnTo>
                        <a:pt x="1730" y="1500"/>
                      </a:lnTo>
                      <a:lnTo>
                        <a:pt x="1730" y="1498"/>
                      </a:lnTo>
                      <a:lnTo>
                        <a:pt x="1732" y="1492"/>
                      </a:lnTo>
                      <a:lnTo>
                        <a:pt x="1736" y="1488"/>
                      </a:lnTo>
                      <a:lnTo>
                        <a:pt x="1740" y="1484"/>
                      </a:lnTo>
                      <a:lnTo>
                        <a:pt x="1748" y="1480"/>
                      </a:lnTo>
                      <a:lnTo>
                        <a:pt x="1760" y="1476"/>
                      </a:lnTo>
                      <a:lnTo>
                        <a:pt x="1760" y="1476"/>
                      </a:lnTo>
                      <a:lnTo>
                        <a:pt x="1770" y="1472"/>
                      </a:lnTo>
                      <a:lnTo>
                        <a:pt x="1780" y="1466"/>
                      </a:lnTo>
                      <a:lnTo>
                        <a:pt x="1786" y="1460"/>
                      </a:lnTo>
                      <a:lnTo>
                        <a:pt x="1790" y="1454"/>
                      </a:lnTo>
                      <a:lnTo>
                        <a:pt x="1794" y="1442"/>
                      </a:lnTo>
                      <a:lnTo>
                        <a:pt x="1794" y="1438"/>
                      </a:lnTo>
                      <a:lnTo>
                        <a:pt x="1808" y="1386"/>
                      </a:lnTo>
                      <a:lnTo>
                        <a:pt x="1832" y="1346"/>
                      </a:lnTo>
                      <a:lnTo>
                        <a:pt x="1832" y="1302"/>
                      </a:lnTo>
                      <a:lnTo>
                        <a:pt x="1832" y="1302"/>
                      </a:lnTo>
                      <a:lnTo>
                        <a:pt x="1836" y="1284"/>
                      </a:lnTo>
                      <a:lnTo>
                        <a:pt x="1840" y="1270"/>
                      </a:lnTo>
                      <a:lnTo>
                        <a:pt x="1840" y="1256"/>
                      </a:lnTo>
                      <a:lnTo>
                        <a:pt x="1840" y="1256"/>
                      </a:lnTo>
                      <a:lnTo>
                        <a:pt x="1836" y="1242"/>
                      </a:lnTo>
                      <a:lnTo>
                        <a:pt x="1828" y="1222"/>
                      </a:lnTo>
                      <a:lnTo>
                        <a:pt x="1820" y="1198"/>
                      </a:lnTo>
                      <a:lnTo>
                        <a:pt x="1756" y="1098"/>
                      </a:lnTo>
                      <a:lnTo>
                        <a:pt x="1756" y="1098"/>
                      </a:lnTo>
                      <a:lnTo>
                        <a:pt x="1722" y="1066"/>
                      </a:lnTo>
                      <a:lnTo>
                        <a:pt x="1680" y="1028"/>
                      </a:lnTo>
                      <a:lnTo>
                        <a:pt x="1680" y="1028"/>
                      </a:lnTo>
                      <a:lnTo>
                        <a:pt x="1662" y="1020"/>
                      </a:lnTo>
                      <a:lnTo>
                        <a:pt x="1628" y="1006"/>
                      </a:lnTo>
                      <a:lnTo>
                        <a:pt x="1586" y="992"/>
                      </a:lnTo>
                      <a:lnTo>
                        <a:pt x="1544" y="978"/>
                      </a:lnTo>
                      <a:lnTo>
                        <a:pt x="1756" y="960"/>
                      </a:lnTo>
                      <a:lnTo>
                        <a:pt x="1818" y="952"/>
                      </a:lnTo>
                      <a:lnTo>
                        <a:pt x="1882" y="942"/>
                      </a:lnTo>
                      <a:lnTo>
                        <a:pt x="1926" y="918"/>
                      </a:lnTo>
                      <a:lnTo>
                        <a:pt x="1970" y="876"/>
                      </a:lnTo>
                      <a:lnTo>
                        <a:pt x="2012" y="810"/>
                      </a:lnTo>
                      <a:lnTo>
                        <a:pt x="2044" y="734"/>
                      </a:lnTo>
                      <a:lnTo>
                        <a:pt x="2058" y="686"/>
                      </a:lnTo>
                      <a:lnTo>
                        <a:pt x="2086" y="544"/>
                      </a:lnTo>
                      <a:lnTo>
                        <a:pt x="2108" y="452"/>
                      </a:lnTo>
                      <a:lnTo>
                        <a:pt x="2154" y="226"/>
                      </a:lnTo>
                      <a:lnTo>
                        <a:pt x="2164" y="114"/>
                      </a:lnTo>
                      <a:lnTo>
                        <a:pt x="2162" y="70"/>
                      </a:lnTo>
                      <a:close/>
                      <a:moveTo>
                        <a:pt x="1076" y="792"/>
                      </a:moveTo>
                      <a:lnTo>
                        <a:pt x="1076" y="792"/>
                      </a:lnTo>
                      <a:lnTo>
                        <a:pt x="1076" y="790"/>
                      </a:lnTo>
                      <a:lnTo>
                        <a:pt x="1076" y="790"/>
                      </a:lnTo>
                      <a:lnTo>
                        <a:pt x="1076" y="792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72000"/>
                  </a:schemeClr>
                </a:soli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3" name="Group 48"/>
              <p:cNvGrpSpPr>
                <a:grpSpLocks noChangeAspect="1"/>
              </p:cNvGrpSpPr>
              <p:nvPr/>
            </p:nvGrpSpPr>
            <p:grpSpPr>
              <a:xfrm>
                <a:off x="2" y="685789"/>
                <a:ext cx="1312805" cy="1509325"/>
                <a:chOff x="1447800" y="3114675"/>
                <a:chExt cx="1836489" cy="2111412"/>
              </a:xfrm>
              <a:solidFill>
                <a:schemeClr val="bg2">
                  <a:lumMod val="50000"/>
                  <a:lumOff val="50000"/>
                  <a:alpha val="18000"/>
                </a:schemeClr>
              </a:solidFill>
            </p:grpSpPr>
            <p:sp>
              <p:nvSpPr>
                <p:cNvPr id="159" name="Freeform 42"/>
                <p:cNvSpPr>
                  <a:spLocks/>
                </p:cNvSpPr>
                <p:nvPr/>
              </p:nvSpPr>
              <p:spPr bwMode="auto">
                <a:xfrm>
                  <a:off x="1990725" y="4175125"/>
                  <a:ext cx="498475" cy="269875"/>
                </a:xfrm>
                <a:custGeom>
                  <a:avLst/>
                  <a:gdLst>
                    <a:gd name="T0" fmla="*/ 314 w 314"/>
                    <a:gd name="T1" fmla="*/ 170 h 170"/>
                    <a:gd name="T2" fmla="*/ 314 w 314"/>
                    <a:gd name="T3" fmla="*/ 170 h 170"/>
                    <a:gd name="T4" fmla="*/ 314 w 314"/>
                    <a:gd name="T5" fmla="*/ 168 h 170"/>
                    <a:gd name="T6" fmla="*/ 314 w 314"/>
                    <a:gd name="T7" fmla="*/ 166 h 170"/>
                    <a:gd name="T8" fmla="*/ 314 w 314"/>
                    <a:gd name="T9" fmla="*/ 166 h 170"/>
                    <a:gd name="T10" fmla="*/ 300 w 314"/>
                    <a:gd name="T11" fmla="*/ 158 h 170"/>
                    <a:gd name="T12" fmla="*/ 58 w 314"/>
                    <a:gd name="T13" fmla="*/ 22 h 170"/>
                    <a:gd name="T14" fmla="*/ 58 w 314"/>
                    <a:gd name="T15" fmla="*/ 22 h 170"/>
                    <a:gd name="T16" fmla="*/ 34 w 314"/>
                    <a:gd name="T17" fmla="*/ 8 h 170"/>
                    <a:gd name="T18" fmla="*/ 34 w 314"/>
                    <a:gd name="T19" fmla="*/ 8 h 170"/>
                    <a:gd name="T20" fmla="*/ 22 w 314"/>
                    <a:gd name="T21" fmla="*/ 2 h 170"/>
                    <a:gd name="T22" fmla="*/ 8 w 314"/>
                    <a:gd name="T23" fmla="*/ 0 h 170"/>
                    <a:gd name="T24" fmla="*/ 8 w 314"/>
                    <a:gd name="T25" fmla="*/ 0 h 170"/>
                    <a:gd name="T26" fmla="*/ 4 w 314"/>
                    <a:gd name="T27" fmla="*/ 0 h 170"/>
                    <a:gd name="T28" fmla="*/ 2 w 314"/>
                    <a:gd name="T29" fmla="*/ 2 h 170"/>
                    <a:gd name="T30" fmla="*/ 0 w 314"/>
                    <a:gd name="T31" fmla="*/ 4 h 170"/>
                    <a:gd name="T32" fmla="*/ 2 w 314"/>
                    <a:gd name="T33" fmla="*/ 6 h 170"/>
                    <a:gd name="T34" fmla="*/ 2 w 314"/>
                    <a:gd name="T35" fmla="*/ 6 h 170"/>
                    <a:gd name="T36" fmla="*/ 8 w 314"/>
                    <a:gd name="T37" fmla="*/ 12 h 170"/>
                    <a:gd name="T38" fmla="*/ 16 w 314"/>
                    <a:gd name="T39" fmla="*/ 14 h 170"/>
                    <a:gd name="T40" fmla="*/ 16 w 314"/>
                    <a:gd name="T41" fmla="*/ 14 h 170"/>
                    <a:gd name="T42" fmla="*/ 28 w 314"/>
                    <a:gd name="T43" fmla="*/ 18 h 170"/>
                    <a:gd name="T44" fmla="*/ 40 w 314"/>
                    <a:gd name="T45" fmla="*/ 24 h 170"/>
                    <a:gd name="T46" fmla="*/ 298 w 314"/>
                    <a:gd name="T47" fmla="*/ 162 h 170"/>
                    <a:gd name="T48" fmla="*/ 298 w 314"/>
                    <a:gd name="T49" fmla="*/ 162 h 170"/>
                    <a:gd name="T50" fmla="*/ 308 w 314"/>
                    <a:gd name="T51" fmla="*/ 168 h 170"/>
                    <a:gd name="T52" fmla="*/ 314 w 314"/>
                    <a:gd name="T53" fmla="*/ 170 h 170"/>
                    <a:gd name="T54" fmla="*/ 314 w 314"/>
                    <a:gd name="T55" fmla="*/ 170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314" h="170">
                      <a:moveTo>
                        <a:pt x="314" y="170"/>
                      </a:moveTo>
                      <a:lnTo>
                        <a:pt x="314" y="170"/>
                      </a:lnTo>
                      <a:lnTo>
                        <a:pt x="314" y="168"/>
                      </a:lnTo>
                      <a:lnTo>
                        <a:pt x="314" y="166"/>
                      </a:lnTo>
                      <a:lnTo>
                        <a:pt x="314" y="166"/>
                      </a:lnTo>
                      <a:lnTo>
                        <a:pt x="300" y="158"/>
                      </a:lnTo>
                      <a:lnTo>
                        <a:pt x="58" y="22"/>
                      </a:lnTo>
                      <a:lnTo>
                        <a:pt x="58" y="22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22" y="2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2" y="6"/>
                      </a:lnTo>
                      <a:lnTo>
                        <a:pt x="8" y="12"/>
                      </a:lnTo>
                      <a:lnTo>
                        <a:pt x="16" y="14"/>
                      </a:lnTo>
                      <a:lnTo>
                        <a:pt x="16" y="14"/>
                      </a:lnTo>
                      <a:lnTo>
                        <a:pt x="28" y="18"/>
                      </a:lnTo>
                      <a:lnTo>
                        <a:pt x="40" y="24"/>
                      </a:lnTo>
                      <a:lnTo>
                        <a:pt x="298" y="162"/>
                      </a:lnTo>
                      <a:lnTo>
                        <a:pt x="298" y="162"/>
                      </a:lnTo>
                      <a:lnTo>
                        <a:pt x="308" y="168"/>
                      </a:lnTo>
                      <a:lnTo>
                        <a:pt x="314" y="170"/>
                      </a:lnTo>
                      <a:lnTo>
                        <a:pt x="314" y="17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43"/>
                <p:cNvSpPr>
                  <a:spLocks/>
                </p:cNvSpPr>
                <p:nvPr/>
              </p:nvSpPr>
              <p:spPr bwMode="auto">
                <a:xfrm>
                  <a:off x="2498725" y="445135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44"/>
                <p:cNvSpPr>
                  <a:spLocks/>
                </p:cNvSpPr>
                <p:nvPr/>
              </p:nvSpPr>
              <p:spPr bwMode="auto">
                <a:xfrm>
                  <a:off x="2511425" y="3870325"/>
                  <a:ext cx="60325" cy="561975"/>
                </a:xfrm>
                <a:custGeom>
                  <a:avLst/>
                  <a:gdLst>
                    <a:gd name="T0" fmla="*/ 2 w 38"/>
                    <a:gd name="T1" fmla="*/ 352 h 354"/>
                    <a:gd name="T2" fmla="*/ 2 w 38"/>
                    <a:gd name="T3" fmla="*/ 352 h 354"/>
                    <a:gd name="T4" fmla="*/ 4 w 38"/>
                    <a:gd name="T5" fmla="*/ 346 h 354"/>
                    <a:gd name="T6" fmla="*/ 6 w 38"/>
                    <a:gd name="T7" fmla="*/ 336 h 354"/>
                    <a:gd name="T8" fmla="*/ 32 w 38"/>
                    <a:gd name="T9" fmla="*/ 44 h 354"/>
                    <a:gd name="T10" fmla="*/ 32 w 38"/>
                    <a:gd name="T11" fmla="*/ 44 h 354"/>
                    <a:gd name="T12" fmla="*/ 34 w 38"/>
                    <a:gd name="T13" fmla="*/ 30 h 354"/>
                    <a:gd name="T14" fmla="*/ 36 w 38"/>
                    <a:gd name="T15" fmla="*/ 20 h 354"/>
                    <a:gd name="T16" fmla="*/ 36 w 38"/>
                    <a:gd name="T17" fmla="*/ 20 h 354"/>
                    <a:gd name="T18" fmla="*/ 38 w 38"/>
                    <a:gd name="T19" fmla="*/ 10 h 354"/>
                    <a:gd name="T20" fmla="*/ 38 w 38"/>
                    <a:gd name="T21" fmla="*/ 2 h 354"/>
                    <a:gd name="T22" fmla="*/ 38 w 38"/>
                    <a:gd name="T23" fmla="*/ 2 h 354"/>
                    <a:gd name="T24" fmla="*/ 36 w 38"/>
                    <a:gd name="T25" fmla="*/ 0 h 354"/>
                    <a:gd name="T26" fmla="*/ 34 w 38"/>
                    <a:gd name="T27" fmla="*/ 0 h 354"/>
                    <a:gd name="T28" fmla="*/ 32 w 38"/>
                    <a:gd name="T29" fmla="*/ 0 h 354"/>
                    <a:gd name="T30" fmla="*/ 28 w 38"/>
                    <a:gd name="T31" fmla="*/ 4 h 354"/>
                    <a:gd name="T32" fmla="*/ 28 w 38"/>
                    <a:gd name="T33" fmla="*/ 4 h 354"/>
                    <a:gd name="T34" fmla="*/ 24 w 38"/>
                    <a:gd name="T35" fmla="*/ 16 h 354"/>
                    <a:gd name="T36" fmla="*/ 22 w 38"/>
                    <a:gd name="T37" fmla="*/ 30 h 354"/>
                    <a:gd name="T38" fmla="*/ 22 w 38"/>
                    <a:gd name="T39" fmla="*/ 30 h 354"/>
                    <a:gd name="T40" fmla="*/ 20 w 38"/>
                    <a:gd name="T41" fmla="*/ 58 h 354"/>
                    <a:gd name="T42" fmla="*/ 0 w 38"/>
                    <a:gd name="T43" fmla="*/ 334 h 354"/>
                    <a:gd name="T44" fmla="*/ 0 w 38"/>
                    <a:gd name="T45" fmla="*/ 334 h 354"/>
                    <a:gd name="T46" fmla="*/ 0 w 38"/>
                    <a:gd name="T47" fmla="*/ 352 h 354"/>
                    <a:gd name="T48" fmla="*/ 0 w 38"/>
                    <a:gd name="T49" fmla="*/ 352 h 354"/>
                    <a:gd name="T50" fmla="*/ 0 w 38"/>
                    <a:gd name="T51" fmla="*/ 354 h 354"/>
                    <a:gd name="T52" fmla="*/ 0 w 38"/>
                    <a:gd name="T53" fmla="*/ 354 h 354"/>
                    <a:gd name="T54" fmla="*/ 2 w 38"/>
                    <a:gd name="T55" fmla="*/ 352 h 354"/>
                    <a:gd name="T56" fmla="*/ 2 w 38"/>
                    <a:gd name="T57" fmla="*/ 352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8" h="354">
                      <a:moveTo>
                        <a:pt x="2" y="352"/>
                      </a:moveTo>
                      <a:lnTo>
                        <a:pt x="2" y="352"/>
                      </a:lnTo>
                      <a:lnTo>
                        <a:pt x="4" y="346"/>
                      </a:lnTo>
                      <a:lnTo>
                        <a:pt x="6" y="336"/>
                      </a:lnTo>
                      <a:lnTo>
                        <a:pt x="32" y="44"/>
                      </a:lnTo>
                      <a:lnTo>
                        <a:pt x="32" y="44"/>
                      </a:lnTo>
                      <a:lnTo>
                        <a:pt x="34" y="3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8" y="10"/>
                      </a:lnTo>
                      <a:lnTo>
                        <a:pt x="38" y="2"/>
                      </a:lnTo>
                      <a:lnTo>
                        <a:pt x="38" y="2"/>
                      </a:lnTo>
                      <a:lnTo>
                        <a:pt x="36" y="0"/>
                      </a:lnTo>
                      <a:lnTo>
                        <a:pt x="34" y="0"/>
                      </a:lnTo>
                      <a:lnTo>
                        <a:pt x="32" y="0"/>
                      </a:lnTo>
                      <a:lnTo>
                        <a:pt x="28" y="4"/>
                      </a:lnTo>
                      <a:lnTo>
                        <a:pt x="28" y="4"/>
                      </a:lnTo>
                      <a:lnTo>
                        <a:pt x="24" y="16"/>
                      </a:lnTo>
                      <a:lnTo>
                        <a:pt x="22" y="30"/>
                      </a:lnTo>
                      <a:lnTo>
                        <a:pt x="22" y="30"/>
                      </a:lnTo>
                      <a:lnTo>
                        <a:pt x="20" y="58"/>
                      </a:lnTo>
                      <a:lnTo>
                        <a:pt x="0" y="334"/>
                      </a:lnTo>
                      <a:lnTo>
                        <a:pt x="0" y="334"/>
                      </a:lnTo>
                      <a:lnTo>
                        <a:pt x="0" y="352"/>
                      </a:lnTo>
                      <a:lnTo>
                        <a:pt x="0" y="352"/>
                      </a:lnTo>
                      <a:lnTo>
                        <a:pt x="0" y="354"/>
                      </a:lnTo>
                      <a:lnTo>
                        <a:pt x="0" y="354"/>
                      </a:lnTo>
                      <a:lnTo>
                        <a:pt x="2" y="352"/>
                      </a:lnTo>
                      <a:lnTo>
                        <a:pt x="2" y="35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Freeform 45"/>
                <p:cNvSpPr>
                  <a:spLocks noEditPoints="1"/>
                </p:cNvSpPr>
                <p:nvPr/>
              </p:nvSpPr>
              <p:spPr bwMode="auto">
                <a:xfrm>
                  <a:off x="1447800" y="3114675"/>
                  <a:ext cx="1836489" cy="2111412"/>
                </a:xfrm>
                <a:custGeom>
                  <a:avLst/>
                  <a:gdLst>
                    <a:gd name="T0" fmla="*/ 1324 w 1336"/>
                    <a:gd name="T1" fmla="*/ 968 h 1536"/>
                    <a:gd name="T2" fmla="*/ 1306 w 1336"/>
                    <a:gd name="T3" fmla="*/ 886 h 1536"/>
                    <a:gd name="T4" fmla="*/ 1268 w 1336"/>
                    <a:gd name="T5" fmla="*/ 846 h 1536"/>
                    <a:gd name="T6" fmla="*/ 1108 w 1336"/>
                    <a:gd name="T7" fmla="*/ 788 h 1536"/>
                    <a:gd name="T8" fmla="*/ 1220 w 1336"/>
                    <a:gd name="T9" fmla="*/ 664 h 1536"/>
                    <a:gd name="T10" fmla="*/ 1246 w 1336"/>
                    <a:gd name="T11" fmla="*/ 442 h 1536"/>
                    <a:gd name="T12" fmla="*/ 1102 w 1336"/>
                    <a:gd name="T13" fmla="*/ 20 h 1536"/>
                    <a:gd name="T14" fmla="*/ 1084 w 1336"/>
                    <a:gd name="T15" fmla="*/ 0 h 1536"/>
                    <a:gd name="T16" fmla="*/ 1000 w 1336"/>
                    <a:gd name="T17" fmla="*/ 18 h 1536"/>
                    <a:gd name="T18" fmla="*/ 740 w 1336"/>
                    <a:gd name="T19" fmla="*/ 628 h 1536"/>
                    <a:gd name="T20" fmla="*/ 728 w 1336"/>
                    <a:gd name="T21" fmla="*/ 864 h 1536"/>
                    <a:gd name="T22" fmla="*/ 708 w 1336"/>
                    <a:gd name="T23" fmla="*/ 844 h 1536"/>
                    <a:gd name="T24" fmla="*/ 688 w 1336"/>
                    <a:gd name="T25" fmla="*/ 826 h 1536"/>
                    <a:gd name="T26" fmla="*/ 674 w 1336"/>
                    <a:gd name="T27" fmla="*/ 828 h 1536"/>
                    <a:gd name="T28" fmla="*/ 662 w 1336"/>
                    <a:gd name="T29" fmla="*/ 828 h 1536"/>
                    <a:gd name="T30" fmla="*/ 650 w 1336"/>
                    <a:gd name="T31" fmla="*/ 840 h 1536"/>
                    <a:gd name="T32" fmla="*/ 650 w 1336"/>
                    <a:gd name="T33" fmla="*/ 846 h 1536"/>
                    <a:gd name="T34" fmla="*/ 642 w 1336"/>
                    <a:gd name="T35" fmla="*/ 870 h 1536"/>
                    <a:gd name="T36" fmla="*/ 650 w 1336"/>
                    <a:gd name="T37" fmla="*/ 904 h 1536"/>
                    <a:gd name="T38" fmla="*/ 158 w 1336"/>
                    <a:gd name="T39" fmla="*/ 670 h 1536"/>
                    <a:gd name="T40" fmla="*/ 44 w 1336"/>
                    <a:gd name="T41" fmla="*/ 1130 h 1536"/>
                    <a:gd name="T42" fmla="*/ 258 w 1336"/>
                    <a:gd name="T43" fmla="*/ 1190 h 1536"/>
                    <a:gd name="T44" fmla="*/ 380 w 1336"/>
                    <a:gd name="T45" fmla="*/ 1180 h 1536"/>
                    <a:gd name="T46" fmla="*/ 340 w 1336"/>
                    <a:gd name="T47" fmla="*/ 1346 h 1536"/>
                    <a:gd name="T48" fmla="*/ 354 w 1336"/>
                    <a:gd name="T49" fmla="*/ 1398 h 1536"/>
                    <a:gd name="T50" fmla="*/ 438 w 1336"/>
                    <a:gd name="T51" fmla="*/ 1488 h 1536"/>
                    <a:gd name="T52" fmla="*/ 464 w 1336"/>
                    <a:gd name="T53" fmla="*/ 1502 h 1536"/>
                    <a:gd name="T54" fmla="*/ 498 w 1336"/>
                    <a:gd name="T55" fmla="*/ 1504 h 1536"/>
                    <a:gd name="T56" fmla="*/ 524 w 1336"/>
                    <a:gd name="T57" fmla="*/ 1520 h 1536"/>
                    <a:gd name="T58" fmla="*/ 562 w 1336"/>
                    <a:gd name="T59" fmla="*/ 1520 h 1536"/>
                    <a:gd name="T60" fmla="*/ 594 w 1336"/>
                    <a:gd name="T61" fmla="*/ 1526 h 1536"/>
                    <a:gd name="T62" fmla="*/ 634 w 1336"/>
                    <a:gd name="T63" fmla="*/ 1530 h 1536"/>
                    <a:gd name="T64" fmla="*/ 712 w 1336"/>
                    <a:gd name="T65" fmla="*/ 1536 h 1536"/>
                    <a:gd name="T66" fmla="*/ 738 w 1336"/>
                    <a:gd name="T67" fmla="*/ 1514 h 1536"/>
                    <a:gd name="T68" fmla="*/ 758 w 1336"/>
                    <a:gd name="T69" fmla="*/ 1500 h 1536"/>
                    <a:gd name="T70" fmla="*/ 792 w 1336"/>
                    <a:gd name="T71" fmla="*/ 1420 h 1536"/>
                    <a:gd name="T72" fmla="*/ 790 w 1336"/>
                    <a:gd name="T73" fmla="*/ 1286 h 1536"/>
                    <a:gd name="T74" fmla="*/ 746 w 1336"/>
                    <a:gd name="T75" fmla="*/ 1062 h 1536"/>
                    <a:gd name="T76" fmla="*/ 812 w 1336"/>
                    <a:gd name="T77" fmla="*/ 1210 h 1536"/>
                    <a:gd name="T78" fmla="*/ 850 w 1336"/>
                    <a:gd name="T79" fmla="*/ 1282 h 1536"/>
                    <a:gd name="T80" fmla="*/ 938 w 1336"/>
                    <a:gd name="T81" fmla="*/ 1348 h 1536"/>
                    <a:gd name="T82" fmla="*/ 932 w 1336"/>
                    <a:gd name="T83" fmla="*/ 1238 h 1536"/>
                    <a:gd name="T84" fmla="*/ 892 w 1336"/>
                    <a:gd name="T85" fmla="*/ 1166 h 1536"/>
                    <a:gd name="T86" fmla="*/ 804 w 1336"/>
                    <a:gd name="T87" fmla="*/ 1030 h 1536"/>
                    <a:gd name="T88" fmla="*/ 884 w 1336"/>
                    <a:gd name="T89" fmla="*/ 1104 h 1536"/>
                    <a:gd name="T90" fmla="*/ 1036 w 1336"/>
                    <a:gd name="T91" fmla="*/ 1238 h 1536"/>
                    <a:gd name="T92" fmla="*/ 1138 w 1336"/>
                    <a:gd name="T93" fmla="*/ 1282 h 1536"/>
                    <a:gd name="T94" fmla="*/ 1174 w 1336"/>
                    <a:gd name="T95" fmla="*/ 1274 h 1536"/>
                    <a:gd name="T96" fmla="*/ 1196 w 1336"/>
                    <a:gd name="T97" fmla="*/ 1272 h 1536"/>
                    <a:gd name="T98" fmla="*/ 1244 w 1336"/>
                    <a:gd name="T99" fmla="*/ 1216 h 1536"/>
                    <a:gd name="T100" fmla="*/ 1268 w 1336"/>
                    <a:gd name="T101" fmla="*/ 1184 h 1536"/>
                    <a:gd name="T102" fmla="*/ 1282 w 1336"/>
                    <a:gd name="T103" fmla="*/ 1144 h 1536"/>
                    <a:gd name="T104" fmla="*/ 1296 w 1336"/>
                    <a:gd name="T105" fmla="*/ 1124 h 1536"/>
                    <a:gd name="T106" fmla="*/ 1314 w 1336"/>
                    <a:gd name="T107" fmla="*/ 1078 h 1536"/>
                    <a:gd name="T108" fmla="*/ 1316 w 1336"/>
                    <a:gd name="T109" fmla="*/ 1054 h 1536"/>
                    <a:gd name="T110" fmla="*/ 1336 w 1336"/>
                    <a:gd name="T111" fmla="*/ 1020 h 1536"/>
                    <a:gd name="T112" fmla="*/ 662 w 1336"/>
                    <a:gd name="T113" fmla="*/ 842 h 1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336" h="1536">
                      <a:moveTo>
                        <a:pt x="1336" y="1020"/>
                      </a:moveTo>
                      <a:lnTo>
                        <a:pt x="1336" y="1012"/>
                      </a:lnTo>
                      <a:lnTo>
                        <a:pt x="1336" y="1012"/>
                      </a:lnTo>
                      <a:lnTo>
                        <a:pt x="1334" y="1006"/>
                      </a:lnTo>
                      <a:lnTo>
                        <a:pt x="1324" y="968"/>
                      </a:lnTo>
                      <a:lnTo>
                        <a:pt x="1326" y="934"/>
                      </a:lnTo>
                      <a:lnTo>
                        <a:pt x="1312" y="908"/>
                      </a:lnTo>
                      <a:lnTo>
                        <a:pt x="1312" y="908"/>
                      </a:lnTo>
                      <a:lnTo>
                        <a:pt x="1308" y="896"/>
                      </a:lnTo>
                      <a:lnTo>
                        <a:pt x="1306" y="886"/>
                      </a:lnTo>
                      <a:lnTo>
                        <a:pt x="1300" y="876"/>
                      </a:lnTo>
                      <a:lnTo>
                        <a:pt x="1300" y="876"/>
                      </a:lnTo>
                      <a:lnTo>
                        <a:pt x="1292" y="868"/>
                      </a:lnTo>
                      <a:lnTo>
                        <a:pt x="1282" y="858"/>
                      </a:lnTo>
                      <a:lnTo>
                        <a:pt x="1268" y="846"/>
                      </a:lnTo>
                      <a:lnTo>
                        <a:pt x="1194" y="804"/>
                      </a:lnTo>
                      <a:lnTo>
                        <a:pt x="1194" y="804"/>
                      </a:lnTo>
                      <a:lnTo>
                        <a:pt x="1124" y="788"/>
                      </a:lnTo>
                      <a:lnTo>
                        <a:pt x="1124" y="788"/>
                      </a:lnTo>
                      <a:lnTo>
                        <a:pt x="1108" y="788"/>
                      </a:lnTo>
                      <a:lnTo>
                        <a:pt x="1082" y="790"/>
                      </a:lnTo>
                      <a:lnTo>
                        <a:pt x="1020" y="800"/>
                      </a:lnTo>
                      <a:lnTo>
                        <a:pt x="1148" y="718"/>
                      </a:lnTo>
                      <a:lnTo>
                        <a:pt x="1184" y="692"/>
                      </a:lnTo>
                      <a:lnTo>
                        <a:pt x="1220" y="664"/>
                      </a:lnTo>
                      <a:lnTo>
                        <a:pt x="1240" y="634"/>
                      </a:lnTo>
                      <a:lnTo>
                        <a:pt x="1254" y="592"/>
                      </a:lnTo>
                      <a:lnTo>
                        <a:pt x="1258" y="536"/>
                      </a:lnTo>
                      <a:lnTo>
                        <a:pt x="1252" y="478"/>
                      </a:lnTo>
                      <a:lnTo>
                        <a:pt x="1246" y="442"/>
                      </a:lnTo>
                      <a:lnTo>
                        <a:pt x="1214" y="344"/>
                      </a:lnTo>
                      <a:lnTo>
                        <a:pt x="1198" y="280"/>
                      </a:lnTo>
                      <a:lnTo>
                        <a:pt x="1150" y="122"/>
                      </a:lnTo>
                      <a:lnTo>
                        <a:pt x="1118" y="46"/>
                      </a:lnTo>
                      <a:lnTo>
                        <a:pt x="1102" y="20"/>
                      </a:lnTo>
                      <a:lnTo>
                        <a:pt x="1102" y="20"/>
                      </a:lnTo>
                      <a:lnTo>
                        <a:pt x="1102" y="18"/>
                      </a:lnTo>
                      <a:lnTo>
                        <a:pt x="1100" y="12"/>
                      </a:lnTo>
                      <a:lnTo>
                        <a:pt x="1094" y="6"/>
                      </a:lnTo>
                      <a:lnTo>
                        <a:pt x="1084" y="0"/>
                      </a:lnTo>
                      <a:lnTo>
                        <a:pt x="1044" y="0"/>
                      </a:lnTo>
                      <a:lnTo>
                        <a:pt x="1044" y="0"/>
                      </a:lnTo>
                      <a:lnTo>
                        <a:pt x="1028" y="6"/>
                      </a:lnTo>
                      <a:lnTo>
                        <a:pt x="1014" y="12"/>
                      </a:lnTo>
                      <a:lnTo>
                        <a:pt x="1000" y="18"/>
                      </a:lnTo>
                      <a:lnTo>
                        <a:pt x="930" y="90"/>
                      </a:lnTo>
                      <a:lnTo>
                        <a:pt x="860" y="190"/>
                      </a:lnTo>
                      <a:lnTo>
                        <a:pt x="806" y="322"/>
                      </a:lnTo>
                      <a:lnTo>
                        <a:pt x="772" y="442"/>
                      </a:lnTo>
                      <a:lnTo>
                        <a:pt x="740" y="628"/>
                      </a:lnTo>
                      <a:lnTo>
                        <a:pt x="732" y="758"/>
                      </a:lnTo>
                      <a:lnTo>
                        <a:pt x="730" y="842"/>
                      </a:lnTo>
                      <a:lnTo>
                        <a:pt x="730" y="870"/>
                      </a:lnTo>
                      <a:lnTo>
                        <a:pt x="730" y="870"/>
                      </a:lnTo>
                      <a:lnTo>
                        <a:pt x="728" y="864"/>
                      </a:lnTo>
                      <a:lnTo>
                        <a:pt x="728" y="864"/>
                      </a:lnTo>
                      <a:lnTo>
                        <a:pt x="720" y="858"/>
                      </a:lnTo>
                      <a:lnTo>
                        <a:pt x="708" y="850"/>
                      </a:lnTo>
                      <a:lnTo>
                        <a:pt x="708" y="850"/>
                      </a:lnTo>
                      <a:lnTo>
                        <a:pt x="708" y="844"/>
                      </a:lnTo>
                      <a:lnTo>
                        <a:pt x="706" y="836"/>
                      </a:lnTo>
                      <a:lnTo>
                        <a:pt x="706" y="836"/>
                      </a:lnTo>
                      <a:lnTo>
                        <a:pt x="702" y="830"/>
                      </a:lnTo>
                      <a:lnTo>
                        <a:pt x="696" y="828"/>
                      </a:lnTo>
                      <a:lnTo>
                        <a:pt x="688" y="826"/>
                      </a:lnTo>
                      <a:lnTo>
                        <a:pt x="680" y="828"/>
                      </a:lnTo>
                      <a:lnTo>
                        <a:pt x="680" y="828"/>
                      </a:lnTo>
                      <a:lnTo>
                        <a:pt x="678" y="830"/>
                      </a:lnTo>
                      <a:lnTo>
                        <a:pt x="678" y="824"/>
                      </a:lnTo>
                      <a:lnTo>
                        <a:pt x="674" y="828"/>
                      </a:lnTo>
                      <a:lnTo>
                        <a:pt x="670" y="830"/>
                      </a:lnTo>
                      <a:lnTo>
                        <a:pt x="670" y="830"/>
                      </a:lnTo>
                      <a:lnTo>
                        <a:pt x="664" y="828"/>
                      </a:lnTo>
                      <a:lnTo>
                        <a:pt x="664" y="828"/>
                      </a:lnTo>
                      <a:lnTo>
                        <a:pt x="662" y="828"/>
                      </a:lnTo>
                      <a:lnTo>
                        <a:pt x="660" y="832"/>
                      </a:lnTo>
                      <a:lnTo>
                        <a:pt x="656" y="834"/>
                      </a:lnTo>
                      <a:lnTo>
                        <a:pt x="658" y="836"/>
                      </a:lnTo>
                      <a:lnTo>
                        <a:pt x="654" y="838"/>
                      </a:lnTo>
                      <a:lnTo>
                        <a:pt x="650" y="840"/>
                      </a:lnTo>
                      <a:lnTo>
                        <a:pt x="656" y="842"/>
                      </a:lnTo>
                      <a:lnTo>
                        <a:pt x="656" y="844"/>
                      </a:lnTo>
                      <a:lnTo>
                        <a:pt x="656" y="844"/>
                      </a:lnTo>
                      <a:lnTo>
                        <a:pt x="650" y="846"/>
                      </a:lnTo>
                      <a:lnTo>
                        <a:pt x="650" y="846"/>
                      </a:lnTo>
                      <a:lnTo>
                        <a:pt x="644" y="850"/>
                      </a:lnTo>
                      <a:lnTo>
                        <a:pt x="640" y="856"/>
                      </a:lnTo>
                      <a:lnTo>
                        <a:pt x="640" y="864"/>
                      </a:lnTo>
                      <a:lnTo>
                        <a:pt x="642" y="870"/>
                      </a:lnTo>
                      <a:lnTo>
                        <a:pt x="642" y="870"/>
                      </a:lnTo>
                      <a:lnTo>
                        <a:pt x="646" y="876"/>
                      </a:lnTo>
                      <a:lnTo>
                        <a:pt x="650" y="878"/>
                      </a:lnTo>
                      <a:lnTo>
                        <a:pt x="650" y="878"/>
                      </a:lnTo>
                      <a:lnTo>
                        <a:pt x="648" y="894"/>
                      </a:lnTo>
                      <a:lnTo>
                        <a:pt x="650" y="904"/>
                      </a:lnTo>
                      <a:lnTo>
                        <a:pt x="634" y="894"/>
                      </a:lnTo>
                      <a:lnTo>
                        <a:pt x="562" y="848"/>
                      </a:lnTo>
                      <a:lnTo>
                        <a:pt x="450" y="784"/>
                      </a:lnTo>
                      <a:lnTo>
                        <a:pt x="276" y="708"/>
                      </a:lnTo>
                      <a:lnTo>
                        <a:pt x="158" y="670"/>
                      </a:lnTo>
                      <a:lnTo>
                        <a:pt x="18" y="644"/>
                      </a:lnTo>
                      <a:lnTo>
                        <a:pt x="0" y="644"/>
                      </a:lnTo>
                      <a:lnTo>
                        <a:pt x="0" y="1084"/>
                      </a:lnTo>
                      <a:lnTo>
                        <a:pt x="16" y="1104"/>
                      </a:lnTo>
                      <a:lnTo>
                        <a:pt x="44" y="1130"/>
                      </a:lnTo>
                      <a:lnTo>
                        <a:pt x="88" y="1166"/>
                      </a:lnTo>
                      <a:lnTo>
                        <a:pt x="138" y="1194"/>
                      </a:lnTo>
                      <a:lnTo>
                        <a:pt x="180" y="1206"/>
                      </a:lnTo>
                      <a:lnTo>
                        <a:pt x="216" y="1206"/>
                      </a:lnTo>
                      <a:lnTo>
                        <a:pt x="258" y="1190"/>
                      </a:lnTo>
                      <a:lnTo>
                        <a:pt x="300" y="1174"/>
                      </a:lnTo>
                      <a:lnTo>
                        <a:pt x="440" y="1114"/>
                      </a:lnTo>
                      <a:lnTo>
                        <a:pt x="440" y="1114"/>
                      </a:lnTo>
                      <a:lnTo>
                        <a:pt x="396" y="1160"/>
                      </a:lnTo>
                      <a:lnTo>
                        <a:pt x="380" y="1180"/>
                      </a:lnTo>
                      <a:lnTo>
                        <a:pt x="372" y="1192"/>
                      </a:lnTo>
                      <a:lnTo>
                        <a:pt x="372" y="1192"/>
                      </a:lnTo>
                      <a:lnTo>
                        <a:pt x="348" y="1260"/>
                      </a:lnTo>
                      <a:lnTo>
                        <a:pt x="340" y="1346"/>
                      </a:lnTo>
                      <a:lnTo>
                        <a:pt x="340" y="1346"/>
                      </a:lnTo>
                      <a:lnTo>
                        <a:pt x="344" y="1364"/>
                      </a:lnTo>
                      <a:lnTo>
                        <a:pt x="346" y="1378"/>
                      </a:lnTo>
                      <a:lnTo>
                        <a:pt x="348" y="1390"/>
                      </a:lnTo>
                      <a:lnTo>
                        <a:pt x="348" y="1390"/>
                      </a:lnTo>
                      <a:lnTo>
                        <a:pt x="354" y="1398"/>
                      </a:lnTo>
                      <a:lnTo>
                        <a:pt x="360" y="1406"/>
                      </a:lnTo>
                      <a:lnTo>
                        <a:pt x="368" y="1416"/>
                      </a:lnTo>
                      <a:lnTo>
                        <a:pt x="382" y="1444"/>
                      </a:lnTo>
                      <a:lnTo>
                        <a:pt x="412" y="1460"/>
                      </a:lnTo>
                      <a:lnTo>
                        <a:pt x="438" y="1488"/>
                      </a:lnTo>
                      <a:lnTo>
                        <a:pt x="438" y="1488"/>
                      </a:lnTo>
                      <a:lnTo>
                        <a:pt x="440" y="1492"/>
                      </a:lnTo>
                      <a:lnTo>
                        <a:pt x="446" y="1496"/>
                      </a:lnTo>
                      <a:lnTo>
                        <a:pt x="458" y="1500"/>
                      </a:lnTo>
                      <a:lnTo>
                        <a:pt x="464" y="1502"/>
                      </a:lnTo>
                      <a:lnTo>
                        <a:pt x="474" y="1500"/>
                      </a:lnTo>
                      <a:lnTo>
                        <a:pt x="474" y="1500"/>
                      </a:lnTo>
                      <a:lnTo>
                        <a:pt x="488" y="1500"/>
                      </a:lnTo>
                      <a:lnTo>
                        <a:pt x="496" y="1502"/>
                      </a:lnTo>
                      <a:lnTo>
                        <a:pt x="498" y="1504"/>
                      </a:lnTo>
                      <a:lnTo>
                        <a:pt x="500" y="1506"/>
                      </a:lnTo>
                      <a:lnTo>
                        <a:pt x="500" y="1506"/>
                      </a:lnTo>
                      <a:lnTo>
                        <a:pt x="510" y="1512"/>
                      </a:lnTo>
                      <a:lnTo>
                        <a:pt x="524" y="1520"/>
                      </a:lnTo>
                      <a:lnTo>
                        <a:pt x="524" y="1520"/>
                      </a:lnTo>
                      <a:lnTo>
                        <a:pt x="542" y="1522"/>
                      </a:lnTo>
                      <a:lnTo>
                        <a:pt x="554" y="1522"/>
                      </a:lnTo>
                      <a:lnTo>
                        <a:pt x="558" y="1522"/>
                      </a:lnTo>
                      <a:lnTo>
                        <a:pt x="562" y="1520"/>
                      </a:lnTo>
                      <a:lnTo>
                        <a:pt x="562" y="1520"/>
                      </a:lnTo>
                      <a:lnTo>
                        <a:pt x="566" y="1518"/>
                      </a:lnTo>
                      <a:lnTo>
                        <a:pt x="570" y="1518"/>
                      </a:lnTo>
                      <a:lnTo>
                        <a:pt x="582" y="1520"/>
                      </a:lnTo>
                      <a:lnTo>
                        <a:pt x="594" y="1526"/>
                      </a:lnTo>
                      <a:lnTo>
                        <a:pt x="594" y="1526"/>
                      </a:lnTo>
                      <a:lnTo>
                        <a:pt x="604" y="1530"/>
                      </a:lnTo>
                      <a:lnTo>
                        <a:pt x="612" y="1532"/>
                      </a:lnTo>
                      <a:lnTo>
                        <a:pt x="622" y="1532"/>
                      </a:lnTo>
                      <a:lnTo>
                        <a:pt x="622" y="1532"/>
                      </a:lnTo>
                      <a:lnTo>
                        <a:pt x="634" y="1530"/>
                      </a:lnTo>
                      <a:lnTo>
                        <a:pt x="648" y="1528"/>
                      </a:lnTo>
                      <a:lnTo>
                        <a:pt x="662" y="1528"/>
                      </a:lnTo>
                      <a:lnTo>
                        <a:pt x="686" y="1532"/>
                      </a:lnTo>
                      <a:lnTo>
                        <a:pt x="712" y="1536"/>
                      </a:lnTo>
                      <a:lnTo>
                        <a:pt x="712" y="1536"/>
                      </a:lnTo>
                      <a:lnTo>
                        <a:pt x="722" y="1532"/>
                      </a:lnTo>
                      <a:lnTo>
                        <a:pt x="732" y="1524"/>
                      </a:lnTo>
                      <a:lnTo>
                        <a:pt x="734" y="1520"/>
                      </a:lnTo>
                      <a:lnTo>
                        <a:pt x="738" y="1514"/>
                      </a:lnTo>
                      <a:lnTo>
                        <a:pt x="738" y="1514"/>
                      </a:lnTo>
                      <a:lnTo>
                        <a:pt x="740" y="1510"/>
                      </a:lnTo>
                      <a:lnTo>
                        <a:pt x="744" y="1506"/>
                      </a:lnTo>
                      <a:lnTo>
                        <a:pt x="750" y="1502"/>
                      </a:lnTo>
                      <a:lnTo>
                        <a:pt x="754" y="1500"/>
                      </a:lnTo>
                      <a:lnTo>
                        <a:pt x="758" y="1500"/>
                      </a:lnTo>
                      <a:lnTo>
                        <a:pt x="766" y="1494"/>
                      </a:lnTo>
                      <a:lnTo>
                        <a:pt x="776" y="1476"/>
                      </a:lnTo>
                      <a:lnTo>
                        <a:pt x="788" y="1438"/>
                      </a:lnTo>
                      <a:lnTo>
                        <a:pt x="788" y="1438"/>
                      </a:lnTo>
                      <a:lnTo>
                        <a:pt x="792" y="1420"/>
                      </a:lnTo>
                      <a:lnTo>
                        <a:pt x="794" y="1398"/>
                      </a:lnTo>
                      <a:lnTo>
                        <a:pt x="796" y="1368"/>
                      </a:lnTo>
                      <a:lnTo>
                        <a:pt x="796" y="1368"/>
                      </a:lnTo>
                      <a:lnTo>
                        <a:pt x="794" y="1330"/>
                      </a:lnTo>
                      <a:lnTo>
                        <a:pt x="790" y="1286"/>
                      </a:lnTo>
                      <a:lnTo>
                        <a:pt x="786" y="1238"/>
                      </a:lnTo>
                      <a:lnTo>
                        <a:pt x="786" y="1238"/>
                      </a:lnTo>
                      <a:lnTo>
                        <a:pt x="770" y="1172"/>
                      </a:lnTo>
                      <a:lnTo>
                        <a:pt x="756" y="1114"/>
                      </a:lnTo>
                      <a:lnTo>
                        <a:pt x="746" y="1062"/>
                      </a:lnTo>
                      <a:lnTo>
                        <a:pt x="760" y="1088"/>
                      </a:lnTo>
                      <a:lnTo>
                        <a:pt x="780" y="1138"/>
                      </a:lnTo>
                      <a:lnTo>
                        <a:pt x="790" y="1152"/>
                      </a:lnTo>
                      <a:lnTo>
                        <a:pt x="794" y="1176"/>
                      </a:lnTo>
                      <a:lnTo>
                        <a:pt x="812" y="1210"/>
                      </a:lnTo>
                      <a:lnTo>
                        <a:pt x="816" y="1218"/>
                      </a:lnTo>
                      <a:lnTo>
                        <a:pt x="840" y="1266"/>
                      </a:lnTo>
                      <a:lnTo>
                        <a:pt x="850" y="1264"/>
                      </a:lnTo>
                      <a:lnTo>
                        <a:pt x="854" y="1272"/>
                      </a:lnTo>
                      <a:lnTo>
                        <a:pt x="850" y="1282"/>
                      </a:lnTo>
                      <a:lnTo>
                        <a:pt x="864" y="1304"/>
                      </a:lnTo>
                      <a:lnTo>
                        <a:pt x="884" y="1340"/>
                      </a:lnTo>
                      <a:lnTo>
                        <a:pt x="914" y="1362"/>
                      </a:lnTo>
                      <a:lnTo>
                        <a:pt x="946" y="1370"/>
                      </a:lnTo>
                      <a:lnTo>
                        <a:pt x="938" y="1348"/>
                      </a:lnTo>
                      <a:lnTo>
                        <a:pt x="952" y="1366"/>
                      </a:lnTo>
                      <a:lnTo>
                        <a:pt x="964" y="1336"/>
                      </a:lnTo>
                      <a:lnTo>
                        <a:pt x="962" y="1298"/>
                      </a:lnTo>
                      <a:lnTo>
                        <a:pt x="942" y="1262"/>
                      </a:lnTo>
                      <a:lnTo>
                        <a:pt x="932" y="1238"/>
                      </a:lnTo>
                      <a:lnTo>
                        <a:pt x="922" y="1236"/>
                      </a:lnTo>
                      <a:lnTo>
                        <a:pt x="918" y="1228"/>
                      </a:lnTo>
                      <a:lnTo>
                        <a:pt x="922" y="1222"/>
                      </a:lnTo>
                      <a:lnTo>
                        <a:pt x="898" y="1174"/>
                      </a:lnTo>
                      <a:lnTo>
                        <a:pt x="892" y="1166"/>
                      </a:lnTo>
                      <a:lnTo>
                        <a:pt x="874" y="1132"/>
                      </a:lnTo>
                      <a:lnTo>
                        <a:pt x="856" y="1116"/>
                      </a:lnTo>
                      <a:lnTo>
                        <a:pt x="850" y="1100"/>
                      </a:lnTo>
                      <a:lnTo>
                        <a:pt x="820" y="1056"/>
                      </a:lnTo>
                      <a:lnTo>
                        <a:pt x="804" y="1030"/>
                      </a:lnTo>
                      <a:lnTo>
                        <a:pt x="804" y="1030"/>
                      </a:lnTo>
                      <a:lnTo>
                        <a:pt x="800" y="1022"/>
                      </a:lnTo>
                      <a:lnTo>
                        <a:pt x="800" y="1022"/>
                      </a:lnTo>
                      <a:lnTo>
                        <a:pt x="840" y="1058"/>
                      </a:lnTo>
                      <a:lnTo>
                        <a:pt x="884" y="1104"/>
                      </a:lnTo>
                      <a:lnTo>
                        <a:pt x="934" y="1158"/>
                      </a:lnTo>
                      <a:lnTo>
                        <a:pt x="934" y="1158"/>
                      </a:lnTo>
                      <a:lnTo>
                        <a:pt x="972" y="1190"/>
                      </a:lnTo>
                      <a:lnTo>
                        <a:pt x="1006" y="1216"/>
                      </a:lnTo>
                      <a:lnTo>
                        <a:pt x="1036" y="1238"/>
                      </a:lnTo>
                      <a:lnTo>
                        <a:pt x="1036" y="1238"/>
                      </a:lnTo>
                      <a:lnTo>
                        <a:pt x="1062" y="1254"/>
                      </a:lnTo>
                      <a:lnTo>
                        <a:pt x="1082" y="1264"/>
                      </a:lnTo>
                      <a:lnTo>
                        <a:pt x="1098" y="1270"/>
                      </a:lnTo>
                      <a:lnTo>
                        <a:pt x="1138" y="1282"/>
                      </a:lnTo>
                      <a:lnTo>
                        <a:pt x="1158" y="1282"/>
                      </a:lnTo>
                      <a:lnTo>
                        <a:pt x="1168" y="1280"/>
                      </a:lnTo>
                      <a:lnTo>
                        <a:pt x="1168" y="1280"/>
                      </a:lnTo>
                      <a:lnTo>
                        <a:pt x="1170" y="1278"/>
                      </a:lnTo>
                      <a:lnTo>
                        <a:pt x="1174" y="1274"/>
                      </a:lnTo>
                      <a:lnTo>
                        <a:pt x="1180" y="1270"/>
                      </a:lnTo>
                      <a:lnTo>
                        <a:pt x="1186" y="1270"/>
                      </a:lnTo>
                      <a:lnTo>
                        <a:pt x="1190" y="1270"/>
                      </a:lnTo>
                      <a:lnTo>
                        <a:pt x="1190" y="1270"/>
                      </a:lnTo>
                      <a:lnTo>
                        <a:pt x="1196" y="1272"/>
                      </a:lnTo>
                      <a:lnTo>
                        <a:pt x="1202" y="1270"/>
                      </a:lnTo>
                      <a:lnTo>
                        <a:pt x="1214" y="1266"/>
                      </a:lnTo>
                      <a:lnTo>
                        <a:pt x="1224" y="1260"/>
                      </a:lnTo>
                      <a:lnTo>
                        <a:pt x="1234" y="1236"/>
                      </a:lnTo>
                      <a:lnTo>
                        <a:pt x="1244" y="1216"/>
                      </a:lnTo>
                      <a:lnTo>
                        <a:pt x="1244" y="1216"/>
                      </a:lnTo>
                      <a:lnTo>
                        <a:pt x="1252" y="1202"/>
                      </a:lnTo>
                      <a:lnTo>
                        <a:pt x="1260" y="1192"/>
                      </a:lnTo>
                      <a:lnTo>
                        <a:pt x="1268" y="1184"/>
                      </a:lnTo>
                      <a:lnTo>
                        <a:pt x="1268" y="1184"/>
                      </a:lnTo>
                      <a:lnTo>
                        <a:pt x="1274" y="1176"/>
                      </a:lnTo>
                      <a:lnTo>
                        <a:pt x="1278" y="1168"/>
                      </a:lnTo>
                      <a:lnTo>
                        <a:pt x="1278" y="1156"/>
                      </a:lnTo>
                      <a:lnTo>
                        <a:pt x="1278" y="1156"/>
                      </a:lnTo>
                      <a:lnTo>
                        <a:pt x="1282" y="1144"/>
                      </a:lnTo>
                      <a:lnTo>
                        <a:pt x="1286" y="1132"/>
                      </a:lnTo>
                      <a:lnTo>
                        <a:pt x="1288" y="1128"/>
                      </a:lnTo>
                      <a:lnTo>
                        <a:pt x="1292" y="1126"/>
                      </a:lnTo>
                      <a:lnTo>
                        <a:pt x="1292" y="1126"/>
                      </a:lnTo>
                      <a:lnTo>
                        <a:pt x="1296" y="1124"/>
                      </a:lnTo>
                      <a:lnTo>
                        <a:pt x="1298" y="1120"/>
                      </a:lnTo>
                      <a:lnTo>
                        <a:pt x="1306" y="1112"/>
                      </a:lnTo>
                      <a:lnTo>
                        <a:pt x="1312" y="1096"/>
                      </a:lnTo>
                      <a:lnTo>
                        <a:pt x="1312" y="1096"/>
                      </a:lnTo>
                      <a:lnTo>
                        <a:pt x="1314" y="1078"/>
                      </a:lnTo>
                      <a:lnTo>
                        <a:pt x="1316" y="1068"/>
                      </a:lnTo>
                      <a:lnTo>
                        <a:pt x="1316" y="1068"/>
                      </a:lnTo>
                      <a:lnTo>
                        <a:pt x="1314" y="1066"/>
                      </a:lnTo>
                      <a:lnTo>
                        <a:pt x="1314" y="1062"/>
                      </a:lnTo>
                      <a:lnTo>
                        <a:pt x="1316" y="1054"/>
                      </a:lnTo>
                      <a:lnTo>
                        <a:pt x="1324" y="1042"/>
                      </a:lnTo>
                      <a:lnTo>
                        <a:pt x="1324" y="1042"/>
                      </a:lnTo>
                      <a:lnTo>
                        <a:pt x="1330" y="1036"/>
                      </a:lnTo>
                      <a:lnTo>
                        <a:pt x="1334" y="1030"/>
                      </a:lnTo>
                      <a:lnTo>
                        <a:pt x="1336" y="1020"/>
                      </a:lnTo>
                      <a:lnTo>
                        <a:pt x="1336" y="1020"/>
                      </a:lnTo>
                      <a:close/>
                      <a:moveTo>
                        <a:pt x="662" y="842"/>
                      </a:moveTo>
                      <a:lnTo>
                        <a:pt x="662" y="842"/>
                      </a:lnTo>
                      <a:lnTo>
                        <a:pt x="662" y="842"/>
                      </a:lnTo>
                      <a:lnTo>
                        <a:pt x="662" y="842"/>
                      </a:lnTo>
                      <a:lnTo>
                        <a:pt x="662" y="842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72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4" name="Group 53"/>
              <p:cNvGrpSpPr>
                <a:grpSpLocks noChangeAspect="1"/>
              </p:cNvGrpSpPr>
              <p:nvPr/>
            </p:nvGrpSpPr>
            <p:grpSpPr>
              <a:xfrm>
                <a:off x="69" y="4273552"/>
                <a:ext cx="1192646" cy="1365250"/>
                <a:chOff x="6991351" y="2448533"/>
                <a:chExt cx="1646965" cy="1885342"/>
              </a:xfrm>
              <a:solidFill>
                <a:schemeClr val="bg2">
                  <a:lumMod val="50000"/>
                  <a:lumOff val="50000"/>
                  <a:alpha val="18000"/>
                </a:schemeClr>
              </a:solidFill>
            </p:grpSpPr>
            <p:sp>
              <p:nvSpPr>
                <p:cNvPr id="155" name="Freeform 56"/>
                <p:cNvSpPr>
                  <a:spLocks/>
                </p:cNvSpPr>
                <p:nvPr/>
              </p:nvSpPr>
              <p:spPr bwMode="auto">
                <a:xfrm>
                  <a:off x="7543643" y="2953066"/>
                  <a:ext cx="19050" cy="498475"/>
                </a:xfrm>
                <a:custGeom>
                  <a:avLst/>
                  <a:gdLst>
                    <a:gd name="T0" fmla="*/ 2 w 12"/>
                    <a:gd name="T1" fmla="*/ 314 h 314"/>
                    <a:gd name="T2" fmla="*/ 2 w 12"/>
                    <a:gd name="T3" fmla="*/ 314 h 314"/>
                    <a:gd name="T4" fmla="*/ 4 w 12"/>
                    <a:gd name="T5" fmla="*/ 314 h 314"/>
                    <a:gd name="T6" fmla="*/ 4 w 12"/>
                    <a:gd name="T7" fmla="*/ 314 h 314"/>
                    <a:gd name="T8" fmla="*/ 4 w 12"/>
                    <a:gd name="T9" fmla="*/ 296 h 314"/>
                    <a:gd name="T10" fmla="*/ 12 w 12"/>
                    <a:gd name="T11" fmla="*/ 56 h 314"/>
                    <a:gd name="T12" fmla="*/ 12 w 12"/>
                    <a:gd name="T13" fmla="*/ 56 h 314"/>
                    <a:gd name="T14" fmla="*/ 12 w 12"/>
                    <a:gd name="T15" fmla="*/ 28 h 314"/>
                    <a:gd name="T16" fmla="*/ 12 w 12"/>
                    <a:gd name="T17" fmla="*/ 28 h 314"/>
                    <a:gd name="T18" fmla="*/ 12 w 12"/>
                    <a:gd name="T19" fmla="*/ 16 h 314"/>
                    <a:gd name="T20" fmla="*/ 10 w 12"/>
                    <a:gd name="T21" fmla="*/ 6 h 314"/>
                    <a:gd name="T22" fmla="*/ 10 w 12"/>
                    <a:gd name="T23" fmla="*/ 6 h 314"/>
                    <a:gd name="T24" fmla="*/ 6 w 12"/>
                    <a:gd name="T25" fmla="*/ 0 h 314"/>
                    <a:gd name="T26" fmla="*/ 4 w 12"/>
                    <a:gd name="T27" fmla="*/ 0 h 314"/>
                    <a:gd name="T28" fmla="*/ 2 w 12"/>
                    <a:gd name="T29" fmla="*/ 2 h 314"/>
                    <a:gd name="T30" fmla="*/ 2 w 12"/>
                    <a:gd name="T31" fmla="*/ 2 h 314"/>
                    <a:gd name="T32" fmla="*/ 0 w 12"/>
                    <a:gd name="T33" fmla="*/ 10 h 314"/>
                    <a:gd name="T34" fmla="*/ 0 w 12"/>
                    <a:gd name="T35" fmla="*/ 18 h 314"/>
                    <a:gd name="T36" fmla="*/ 0 w 12"/>
                    <a:gd name="T37" fmla="*/ 18 h 314"/>
                    <a:gd name="T38" fmla="*/ 2 w 12"/>
                    <a:gd name="T39" fmla="*/ 28 h 314"/>
                    <a:gd name="T40" fmla="*/ 2 w 12"/>
                    <a:gd name="T41" fmla="*/ 42 h 314"/>
                    <a:gd name="T42" fmla="*/ 0 w 12"/>
                    <a:gd name="T43" fmla="*/ 298 h 314"/>
                    <a:gd name="T44" fmla="*/ 0 w 12"/>
                    <a:gd name="T45" fmla="*/ 298 h 314"/>
                    <a:gd name="T46" fmla="*/ 0 w 12"/>
                    <a:gd name="T47" fmla="*/ 310 h 314"/>
                    <a:gd name="T48" fmla="*/ 2 w 12"/>
                    <a:gd name="T49" fmla="*/ 314 h 314"/>
                    <a:gd name="T50" fmla="*/ 2 w 12"/>
                    <a:gd name="T51" fmla="*/ 314 h 3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2" h="314">
                      <a:moveTo>
                        <a:pt x="2" y="314"/>
                      </a:moveTo>
                      <a:lnTo>
                        <a:pt x="2" y="314"/>
                      </a:lnTo>
                      <a:lnTo>
                        <a:pt x="4" y="314"/>
                      </a:lnTo>
                      <a:lnTo>
                        <a:pt x="4" y="314"/>
                      </a:lnTo>
                      <a:lnTo>
                        <a:pt x="4" y="296"/>
                      </a:lnTo>
                      <a:lnTo>
                        <a:pt x="12" y="56"/>
                      </a:lnTo>
                      <a:lnTo>
                        <a:pt x="12" y="56"/>
                      </a:lnTo>
                      <a:lnTo>
                        <a:pt x="12" y="28"/>
                      </a:lnTo>
                      <a:lnTo>
                        <a:pt x="12" y="28"/>
                      </a:lnTo>
                      <a:lnTo>
                        <a:pt x="12" y="16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10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2" y="28"/>
                      </a:lnTo>
                      <a:lnTo>
                        <a:pt x="2" y="42"/>
                      </a:lnTo>
                      <a:lnTo>
                        <a:pt x="0" y="298"/>
                      </a:lnTo>
                      <a:lnTo>
                        <a:pt x="0" y="298"/>
                      </a:lnTo>
                      <a:lnTo>
                        <a:pt x="0" y="310"/>
                      </a:lnTo>
                      <a:lnTo>
                        <a:pt x="2" y="314"/>
                      </a:lnTo>
                      <a:lnTo>
                        <a:pt x="2" y="31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6" name="Freeform 57"/>
                <p:cNvSpPr>
                  <a:spLocks/>
                </p:cNvSpPr>
                <p:nvPr/>
              </p:nvSpPr>
              <p:spPr bwMode="auto">
                <a:xfrm>
                  <a:off x="7597775" y="3355975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7" name="Freeform 58"/>
                <p:cNvSpPr>
                  <a:spLocks/>
                </p:cNvSpPr>
                <p:nvPr/>
              </p:nvSpPr>
              <p:spPr bwMode="auto">
                <a:xfrm>
                  <a:off x="7565869" y="3273742"/>
                  <a:ext cx="463550" cy="193675"/>
                </a:xfrm>
                <a:custGeom>
                  <a:avLst/>
                  <a:gdLst>
                    <a:gd name="T0" fmla="*/ 0 w 292"/>
                    <a:gd name="T1" fmla="*/ 122 h 122"/>
                    <a:gd name="T2" fmla="*/ 0 w 292"/>
                    <a:gd name="T3" fmla="*/ 122 h 122"/>
                    <a:gd name="T4" fmla="*/ 18 w 292"/>
                    <a:gd name="T5" fmla="*/ 116 h 122"/>
                    <a:gd name="T6" fmla="*/ 254 w 292"/>
                    <a:gd name="T7" fmla="*/ 20 h 122"/>
                    <a:gd name="T8" fmla="*/ 254 w 292"/>
                    <a:gd name="T9" fmla="*/ 20 h 122"/>
                    <a:gd name="T10" fmla="*/ 268 w 292"/>
                    <a:gd name="T11" fmla="*/ 14 h 122"/>
                    <a:gd name="T12" fmla="*/ 278 w 292"/>
                    <a:gd name="T13" fmla="*/ 12 h 122"/>
                    <a:gd name="T14" fmla="*/ 278 w 292"/>
                    <a:gd name="T15" fmla="*/ 12 h 122"/>
                    <a:gd name="T16" fmla="*/ 284 w 292"/>
                    <a:gd name="T17" fmla="*/ 10 h 122"/>
                    <a:gd name="T18" fmla="*/ 292 w 292"/>
                    <a:gd name="T19" fmla="*/ 6 h 122"/>
                    <a:gd name="T20" fmla="*/ 292 w 292"/>
                    <a:gd name="T21" fmla="*/ 6 h 122"/>
                    <a:gd name="T22" fmla="*/ 292 w 292"/>
                    <a:gd name="T23" fmla="*/ 4 h 122"/>
                    <a:gd name="T24" fmla="*/ 292 w 292"/>
                    <a:gd name="T25" fmla="*/ 2 h 122"/>
                    <a:gd name="T26" fmla="*/ 286 w 292"/>
                    <a:gd name="T27" fmla="*/ 0 h 122"/>
                    <a:gd name="T28" fmla="*/ 286 w 292"/>
                    <a:gd name="T29" fmla="*/ 0 h 122"/>
                    <a:gd name="T30" fmla="*/ 274 w 292"/>
                    <a:gd name="T31" fmla="*/ 2 h 122"/>
                    <a:gd name="T32" fmla="*/ 264 w 292"/>
                    <a:gd name="T33" fmla="*/ 6 h 122"/>
                    <a:gd name="T34" fmla="*/ 264 w 292"/>
                    <a:gd name="T35" fmla="*/ 6 h 122"/>
                    <a:gd name="T36" fmla="*/ 238 w 292"/>
                    <a:gd name="T37" fmla="*/ 16 h 122"/>
                    <a:gd name="T38" fmla="*/ 16 w 292"/>
                    <a:gd name="T39" fmla="*/ 112 h 122"/>
                    <a:gd name="T40" fmla="*/ 16 w 292"/>
                    <a:gd name="T41" fmla="*/ 112 h 122"/>
                    <a:gd name="T42" fmla="*/ 0 w 292"/>
                    <a:gd name="T43" fmla="*/ 120 h 122"/>
                    <a:gd name="T44" fmla="*/ 0 w 292"/>
                    <a:gd name="T45" fmla="*/ 120 h 122"/>
                    <a:gd name="T46" fmla="*/ 0 w 292"/>
                    <a:gd name="T47" fmla="*/ 120 h 122"/>
                    <a:gd name="T48" fmla="*/ 0 w 292"/>
                    <a:gd name="T49" fmla="*/ 120 h 122"/>
                    <a:gd name="T50" fmla="*/ 0 w 292"/>
                    <a:gd name="T51" fmla="*/ 122 h 122"/>
                    <a:gd name="T52" fmla="*/ 0 w 292"/>
                    <a:gd name="T53" fmla="*/ 122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92" h="122">
                      <a:moveTo>
                        <a:pt x="0" y="122"/>
                      </a:moveTo>
                      <a:lnTo>
                        <a:pt x="0" y="122"/>
                      </a:lnTo>
                      <a:lnTo>
                        <a:pt x="18" y="116"/>
                      </a:lnTo>
                      <a:lnTo>
                        <a:pt x="254" y="20"/>
                      </a:lnTo>
                      <a:lnTo>
                        <a:pt x="254" y="20"/>
                      </a:lnTo>
                      <a:lnTo>
                        <a:pt x="268" y="14"/>
                      </a:lnTo>
                      <a:lnTo>
                        <a:pt x="278" y="12"/>
                      </a:lnTo>
                      <a:lnTo>
                        <a:pt x="278" y="12"/>
                      </a:lnTo>
                      <a:lnTo>
                        <a:pt x="284" y="10"/>
                      </a:lnTo>
                      <a:lnTo>
                        <a:pt x="292" y="6"/>
                      </a:lnTo>
                      <a:lnTo>
                        <a:pt x="292" y="6"/>
                      </a:lnTo>
                      <a:lnTo>
                        <a:pt x="292" y="4"/>
                      </a:lnTo>
                      <a:lnTo>
                        <a:pt x="292" y="2"/>
                      </a:lnTo>
                      <a:lnTo>
                        <a:pt x="286" y="0"/>
                      </a:lnTo>
                      <a:lnTo>
                        <a:pt x="286" y="0"/>
                      </a:lnTo>
                      <a:lnTo>
                        <a:pt x="274" y="2"/>
                      </a:lnTo>
                      <a:lnTo>
                        <a:pt x="264" y="6"/>
                      </a:lnTo>
                      <a:lnTo>
                        <a:pt x="264" y="6"/>
                      </a:lnTo>
                      <a:lnTo>
                        <a:pt x="238" y="16"/>
                      </a:lnTo>
                      <a:lnTo>
                        <a:pt x="16" y="112"/>
                      </a:lnTo>
                      <a:lnTo>
                        <a:pt x="16" y="112"/>
                      </a:lnTo>
                      <a:lnTo>
                        <a:pt x="0" y="120"/>
                      </a:lnTo>
                      <a:lnTo>
                        <a:pt x="0" y="120"/>
                      </a:lnTo>
                      <a:lnTo>
                        <a:pt x="0" y="120"/>
                      </a:lnTo>
                      <a:lnTo>
                        <a:pt x="0" y="120"/>
                      </a:lnTo>
                      <a:lnTo>
                        <a:pt x="0" y="122"/>
                      </a:lnTo>
                      <a:lnTo>
                        <a:pt x="0" y="12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8" name="Freeform 59"/>
                <p:cNvSpPr>
                  <a:spLocks noEditPoints="1"/>
                </p:cNvSpPr>
                <p:nvPr/>
              </p:nvSpPr>
              <p:spPr bwMode="auto">
                <a:xfrm>
                  <a:off x="6991351" y="2448533"/>
                  <a:ext cx="1646965" cy="1885342"/>
                </a:xfrm>
                <a:custGeom>
                  <a:avLst/>
                  <a:gdLst>
                    <a:gd name="T0" fmla="*/ 1212 w 1216"/>
                    <a:gd name="T1" fmla="*/ 748 h 1392"/>
                    <a:gd name="T2" fmla="*/ 1174 w 1216"/>
                    <a:gd name="T3" fmla="*/ 708 h 1392"/>
                    <a:gd name="T4" fmla="*/ 850 w 1216"/>
                    <a:gd name="T5" fmla="*/ 674 h 1392"/>
                    <a:gd name="T6" fmla="*/ 410 w 1216"/>
                    <a:gd name="T7" fmla="*/ 830 h 1392"/>
                    <a:gd name="T8" fmla="*/ 392 w 1216"/>
                    <a:gd name="T9" fmla="*/ 836 h 1392"/>
                    <a:gd name="T10" fmla="*/ 400 w 1216"/>
                    <a:gd name="T11" fmla="*/ 812 h 1392"/>
                    <a:gd name="T12" fmla="*/ 408 w 1216"/>
                    <a:gd name="T13" fmla="*/ 796 h 1392"/>
                    <a:gd name="T14" fmla="*/ 398 w 1216"/>
                    <a:gd name="T15" fmla="*/ 784 h 1392"/>
                    <a:gd name="T16" fmla="*/ 396 w 1216"/>
                    <a:gd name="T17" fmla="*/ 776 h 1392"/>
                    <a:gd name="T18" fmla="*/ 390 w 1216"/>
                    <a:gd name="T19" fmla="*/ 770 h 1392"/>
                    <a:gd name="T20" fmla="*/ 380 w 1216"/>
                    <a:gd name="T21" fmla="*/ 766 h 1392"/>
                    <a:gd name="T22" fmla="*/ 374 w 1216"/>
                    <a:gd name="T23" fmla="*/ 768 h 1392"/>
                    <a:gd name="T24" fmla="*/ 356 w 1216"/>
                    <a:gd name="T25" fmla="*/ 768 h 1392"/>
                    <a:gd name="T26" fmla="*/ 348 w 1216"/>
                    <a:gd name="T27" fmla="*/ 782 h 1392"/>
                    <a:gd name="T28" fmla="*/ 330 w 1216"/>
                    <a:gd name="T29" fmla="*/ 774 h 1392"/>
                    <a:gd name="T30" fmla="*/ 310 w 1216"/>
                    <a:gd name="T31" fmla="*/ 308 h 1392"/>
                    <a:gd name="T32" fmla="*/ 164 w 1216"/>
                    <a:gd name="T33" fmla="*/ 22 h 1392"/>
                    <a:gd name="T34" fmla="*/ 90 w 1216"/>
                    <a:gd name="T35" fmla="*/ 0 h 1392"/>
                    <a:gd name="T36" fmla="*/ 76 w 1216"/>
                    <a:gd name="T37" fmla="*/ 14 h 1392"/>
                    <a:gd name="T38" fmla="*/ 0 w 1216"/>
                    <a:gd name="T39" fmla="*/ 650 h 1392"/>
                    <a:gd name="T40" fmla="*/ 0 w 1216"/>
                    <a:gd name="T41" fmla="*/ 692 h 1392"/>
                    <a:gd name="T42" fmla="*/ 22 w 1216"/>
                    <a:gd name="T43" fmla="*/ 1096 h 1392"/>
                    <a:gd name="T44" fmla="*/ 120 w 1216"/>
                    <a:gd name="T45" fmla="*/ 1036 h 1392"/>
                    <a:gd name="T46" fmla="*/ 228 w 1216"/>
                    <a:gd name="T47" fmla="*/ 952 h 1392"/>
                    <a:gd name="T48" fmla="*/ 154 w 1216"/>
                    <a:gd name="T49" fmla="*/ 1044 h 1392"/>
                    <a:gd name="T50" fmla="*/ 122 w 1216"/>
                    <a:gd name="T51" fmla="*/ 1102 h 1392"/>
                    <a:gd name="T52" fmla="*/ 76 w 1216"/>
                    <a:gd name="T53" fmla="*/ 1188 h 1392"/>
                    <a:gd name="T54" fmla="*/ 118 w 1216"/>
                    <a:gd name="T55" fmla="*/ 1216 h 1392"/>
                    <a:gd name="T56" fmla="*/ 178 w 1216"/>
                    <a:gd name="T57" fmla="*/ 1142 h 1392"/>
                    <a:gd name="T58" fmla="*/ 222 w 1216"/>
                    <a:gd name="T59" fmla="*/ 1090 h 1392"/>
                    <a:gd name="T60" fmla="*/ 278 w 1216"/>
                    <a:gd name="T61" fmla="*/ 988 h 1392"/>
                    <a:gd name="T62" fmla="*/ 296 w 1216"/>
                    <a:gd name="T63" fmla="*/ 960 h 1392"/>
                    <a:gd name="T64" fmla="*/ 244 w 1216"/>
                    <a:gd name="T65" fmla="*/ 1120 h 1392"/>
                    <a:gd name="T66" fmla="*/ 224 w 1216"/>
                    <a:gd name="T67" fmla="*/ 1234 h 1392"/>
                    <a:gd name="T68" fmla="*/ 232 w 1216"/>
                    <a:gd name="T69" fmla="*/ 1330 h 1392"/>
                    <a:gd name="T70" fmla="*/ 248 w 1216"/>
                    <a:gd name="T71" fmla="*/ 1354 h 1392"/>
                    <a:gd name="T72" fmla="*/ 262 w 1216"/>
                    <a:gd name="T73" fmla="*/ 1368 h 1392"/>
                    <a:gd name="T74" fmla="*/ 282 w 1216"/>
                    <a:gd name="T75" fmla="*/ 1390 h 1392"/>
                    <a:gd name="T76" fmla="*/ 338 w 1216"/>
                    <a:gd name="T77" fmla="*/ 1388 h 1392"/>
                    <a:gd name="T78" fmla="*/ 388 w 1216"/>
                    <a:gd name="T79" fmla="*/ 1390 h 1392"/>
                    <a:gd name="T80" fmla="*/ 412 w 1216"/>
                    <a:gd name="T81" fmla="*/ 1386 h 1392"/>
                    <a:gd name="T82" fmla="*/ 428 w 1216"/>
                    <a:gd name="T83" fmla="*/ 1392 h 1392"/>
                    <a:gd name="T84" fmla="*/ 450 w 1216"/>
                    <a:gd name="T85" fmla="*/ 1392 h 1392"/>
                    <a:gd name="T86" fmla="*/ 474 w 1216"/>
                    <a:gd name="T87" fmla="*/ 1380 h 1392"/>
                    <a:gd name="T88" fmla="*/ 496 w 1216"/>
                    <a:gd name="T89" fmla="*/ 1380 h 1392"/>
                    <a:gd name="T90" fmla="*/ 526 w 1216"/>
                    <a:gd name="T91" fmla="*/ 1374 h 1392"/>
                    <a:gd name="T92" fmla="*/ 598 w 1216"/>
                    <a:gd name="T93" fmla="*/ 1314 h 1392"/>
                    <a:gd name="T94" fmla="*/ 616 w 1216"/>
                    <a:gd name="T95" fmla="*/ 1292 h 1392"/>
                    <a:gd name="T96" fmla="*/ 630 w 1216"/>
                    <a:gd name="T97" fmla="*/ 1178 h 1392"/>
                    <a:gd name="T98" fmla="*/ 608 w 1216"/>
                    <a:gd name="T99" fmla="*/ 1104 h 1392"/>
                    <a:gd name="T100" fmla="*/ 714 w 1216"/>
                    <a:gd name="T101" fmla="*/ 1124 h 1392"/>
                    <a:gd name="T102" fmla="*/ 866 w 1216"/>
                    <a:gd name="T103" fmla="*/ 1120 h 1392"/>
                    <a:gd name="T104" fmla="*/ 1044 w 1216"/>
                    <a:gd name="T105" fmla="*/ 966 h 1392"/>
                    <a:gd name="T106" fmla="*/ 1210 w 1216"/>
                    <a:gd name="T107" fmla="*/ 784 h 1392"/>
                    <a:gd name="T108" fmla="*/ 382 w 1216"/>
                    <a:gd name="T109" fmla="*/ 776 h 1392"/>
                    <a:gd name="T110" fmla="*/ 382 w 1216"/>
                    <a:gd name="T111" fmla="*/ 776 h 13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216" h="1392">
                      <a:moveTo>
                        <a:pt x="1216" y="756"/>
                      </a:moveTo>
                      <a:lnTo>
                        <a:pt x="1216" y="756"/>
                      </a:lnTo>
                      <a:lnTo>
                        <a:pt x="1212" y="748"/>
                      </a:lnTo>
                      <a:lnTo>
                        <a:pt x="1212" y="748"/>
                      </a:lnTo>
                      <a:lnTo>
                        <a:pt x="1206" y="738"/>
                      </a:lnTo>
                      <a:lnTo>
                        <a:pt x="1200" y="730"/>
                      </a:lnTo>
                      <a:lnTo>
                        <a:pt x="1186" y="716"/>
                      </a:lnTo>
                      <a:lnTo>
                        <a:pt x="1174" y="708"/>
                      </a:lnTo>
                      <a:lnTo>
                        <a:pt x="1168" y="704"/>
                      </a:lnTo>
                      <a:lnTo>
                        <a:pt x="1084" y="676"/>
                      </a:lnTo>
                      <a:lnTo>
                        <a:pt x="976" y="664"/>
                      </a:lnTo>
                      <a:lnTo>
                        <a:pt x="850" y="674"/>
                      </a:lnTo>
                      <a:lnTo>
                        <a:pt x="742" y="698"/>
                      </a:lnTo>
                      <a:lnTo>
                        <a:pt x="582" y="748"/>
                      </a:lnTo>
                      <a:lnTo>
                        <a:pt x="476" y="796"/>
                      </a:lnTo>
                      <a:lnTo>
                        <a:pt x="410" y="830"/>
                      </a:lnTo>
                      <a:lnTo>
                        <a:pt x="388" y="842"/>
                      </a:lnTo>
                      <a:lnTo>
                        <a:pt x="388" y="842"/>
                      </a:lnTo>
                      <a:lnTo>
                        <a:pt x="392" y="836"/>
                      </a:lnTo>
                      <a:lnTo>
                        <a:pt x="392" y="836"/>
                      </a:lnTo>
                      <a:lnTo>
                        <a:pt x="394" y="828"/>
                      </a:lnTo>
                      <a:lnTo>
                        <a:pt x="394" y="814"/>
                      </a:lnTo>
                      <a:lnTo>
                        <a:pt x="394" y="814"/>
                      </a:lnTo>
                      <a:lnTo>
                        <a:pt x="400" y="812"/>
                      </a:lnTo>
                      <a:lnTo>
                        <a:pt x="404" y="808"/>
                      </a:lnTo>
                      <a:lnTo>
                        <a:pt x="404" y="808"/>
                      </a:lnTo>
                      <a:lnTo>
                        <a:pt x="408" y="802"/>
                      </a:lnTo>
                      <a:lnTo>
                        <a:pt x="408" y="796"/>
                      </a:lnTo>
                      <a:lnTo>
                        <a:pt x="404" y="790"/>
                      </a:lnTo>
                      <a:lnTo>
                        <a:pt x="400" y="784"/>
                      </a:lnTo>
                      <a:lnTo>
                        <a:pt x="400" y="784"/>
                      </a:lnTo>
                      <a:lnTo>
                        <a:pt x="398" y="784"/>
                      </a:lnTo>
                      <a:lnTo>
                        <a:pt x="402" y="782"/>
                      </a:lnTo>
                      <a:lnTo>
                        <a:pt x="398" y="780"/>
                      </a:lnTo>
                      <a:lnTo>
                        <a:pt x="396" y="778"/>
                      </a:lnTo>
                      <a:lnTo>
                        <a:pt x="396" y="776"/>
                      </a:lnTo>
                      <a:lnTo>
                        <a:pt x="394" y="770"/>
                      </a:lnTo>
                      <a:lnTo>
                        <a:pt x="392" y="772"/>
                      </a:lnTo>
                      <a:lnTo>
                        <a:pt x="392" y="770"/>
                      </a:lnTo>
                      <a:lnTo>
                        <a:pt x="390" y="770"/>
                      </a:lnTo>
                      <a:lnTo>
                        <a:pt x="386" y="766"/>
                      </a:lnTo>
                      <a:lnTo>
                        <a:pt x="384" y="770"/>
                      </a:lnTo>
                      <a:lnTo>
                        <a:pt x="382" y="768"/>
                      </a:lnTo>
                      <a:lnTo>
                        <a:pt x="380" y="766"/>
                      </a:lnTo>
                      <a:lnTo>
                        <a:pt x="378" y="772"/>
                      </a:lnTo>
                      <a:lnTo>
                        <a:pt x="378" y="772"/>
                      </a:lnTo>
                      <a:lnTo>
                        <a:pt x="378" y="772"/>
                      </a:lnTo>
                      <a:lnTo>
                        <a:pt x="374" y="768"/>
                      </a:lnTo>
                      <a:lnTo>
                        <a:pt x="374" y="768"/>
                      </a:lnTo>
                      <a:lnTo>
                        <a:pt x="368" y="764"/>
                      </a:lnTo>
                      <a:lnTo>
                        <a:pt x="362" y="764"/>
                      </a:lnTo>
                      <a:lnTo>
                        <a:pt x="356" y="768"/>
                      </a:lnTo>
                      <a:lnTo>
                        <a:pt x="352" y="772"/>
                      </a:lnTo>
                      <a:lnTo>
                        <a:pt x="352" y="772"/>
                      </a:lnTo>
                      <a:lnTo>
                        <a:pt x="348" y="776"/>
                      </a:lnTo>
                      <a:lnTo>
                        <a:pt x="348" y="782"/>
                      </a:lnTo>
                      <a:lnTo>
                        <a:pt x="348" y="782"/>
                      </a:lnTo>
                      <a:lnTo>
                        <a:pt x="336" y="786"/>
                      </a:lnTo>
                      <a:lnTo>
                        <a:pt x="328" y="792"/>
                      </a:lnTo>
                      <a:lnTo>
                        <a:pt x="330" y="774"/>
                      </a:lnTo>
                      <a:lnTo>
                        <a:pt x="336" y="700"/>
                      </a:lnTo>
                      <a:lnTo>
                        <a:pt x="340" y="586"/>
                      </a:lnTo>
                      <a:lnTo>
                        <a:pt x="328" y="418"/>
                      </a:lnTo>
                      <a:lnTo>
                        <a:pt x="310" y="308"/>
                      </a:lnTo>
                      <a:lnTo>
                        <a:pt x="274" y="186"/>
                      </a:lnTo>
                      <a:lnTo>
                        <a:pt x="222" y="92"/>
                      </a:lnTo>
                      <a:lnTo>
                        <a:pt x="164" y="22"/>
                      </a:lnTo>
                      <a:lnTo>
                        <a:pt x="164" y="22"/>
                      </a:lnTo>
                      <a:lnTo>
                        <a:pt x="152" y="14"/>
                      </a:lnTo>
                      <a:lnTo>
                        <a:pt x="136" y="6"/>
                      </a:lnTo>
                      <a:lnTo>
                        <a:pt x="118" y="0"/>
                      </a:lnTo>
                      <a:lnTo>
                        <a:pt x="90" y="0"/>
                      </a:lnTo>
                      <a:lnTo>
                        <a:pt x="90" y="0"/>
                      </a:lnTo>
                      <a:lnTo>
                        <a:pt x="82" y="4"/>
                      </a:lnTo>
                      <a:lnTo>
                        <a:pt x="78" y="10"/>
                      </a:lnTo>
                      <a:lnTo>
                        <a:pt x="76" y="14"/>
                      </a:lnTo>
                      <a:lnTo>
                        <a:pt x="58" y="38"/>
                      </a:lnTo>
                      <a:lnTo>
                        <a:pt x="24" y="100"/>
                      </a:lnTo>
                      <a:lnTo>
                        <a:pt x="0" y="158"/>
                      </a:lnTo>
                      <a:lnTo>
                        <a:pt x="0" y="650"/>
                      </a:lnTo>
                      <a:lnTo>
                        <a:pt x="76" y="712"/>
                      </a:lnTo>
                      <a:lnTo>
                        <a:pt x="76" y="712"/>
                      </a:lnTo>
                      <a:lnTo>
                        <a:pt x="36" y="700"/>
                      </a:lnTo>
                      <a:lnTo>
                        <a:pt x="0" y="692"/>
                      </a:lnTo>
                      <a:lnTo>
                        <a:pt x="0" y="1108"/>
                      </a:lnTo>
                      <a:lnTo>
                        <a:pt x="0" y="1108"/>
                      </a:lnTo>
                      <a:lnTo>
                        <a:pt x="22" y="1096"/>
                      </a:lnTo>
                      <a:lnTo>
                        <a:pt x="22" y="1096"/>
                      </a:lnTo>
                      <a:lnTo>
                        <a:pt x="52" y="1080"/>
                      </a:lnTo>
                      <a:lnTo>
                        <a:pt x="84" y="1060"/>
                      </a:lnTo>
                      <a:lnTo>
                        <a:pt x="120" y="1036"/>
                      </a:lnTo>
                      <a:lnTo>
                        <a:pt x="120" y="1036"/>
                      </a:lnTo>
                      <a:lnTo>
                        <a:pt x="166" y="996"/>
                      </a:lnTo>
                      <a:lnTo>
                        <a:pt x="206" y="962"/>
                      </a:lnTo>
                      <a:lnTo>
                        <a:pt x="244" y="932"/>
                      </a:lnTo>
                      <a:lnTo>
                        <a:pt x="228" y="952"/>
                      </a:lnTo>
                      <a:lnTo>
                        <a:pt x="198" y="990"/>
                      </a:lnTo>
                      <a:lnTo>
                        <a:pt x="190" y="1004"/>
                      </a:lnTo>
                      <a:lnTo>
                        <a:pt x="172" y="1016"/>
                      </a:lnTo>
                      <a:lnTo>
                        <a:pt x="154" y="1044"/>
                      </a:lnTo>
                      <a:lnTo>
                        <a:pt x="148" y="1052"/>
                      </a:lnTo>
                      <a:lnTo>
                        <a:pt x="122" y="1090"/>
                      </a:lnTo>
                      <a:lnTo>
                        <a:pt x="126" y="1096"/>
                      </a:lnTo>
                      <a:lnTo>
                        <a:pt x="122" y="1102"/>
                      </a:lnTo>
                      <a:lnTo>
                        <a:pt x="112" y="1104"/>
                      </a:lnTo>
                      <a:lnTo>
                        <a:pt x="102" y="1124"/>
                      </a:lnTo>
                      <a:lnTo>
                        <a:pt x="80" y="1154"/>
                      </a:lnTo>
                      <a:lnTo>
                        <a:pt x="76" y="1188"/>
                      </a:lnTo>
                      <a:lnTo>
                        <a:pt x="84" y="1216"/>
                      </a:lnTo>
                      <a:lnTo>
                        <a:pt x="98" y="1200"/>
                      </a:lnTo>
                      <a:lnTo>
                        <a:pt x="88" y="1218"/>
                      </a:lnTo>
                      <a:lnTo>
                        <a:pt x="118" y="1216"/>
                      </a:lnTo>
                      <a:lnTo>
                        <a:pt x="146" y="1198"/>
                      </a:lnTo>
                      <a:lnTo>
                        <a:pt x="166" y="1168"/>
                      </a:lnTo>
                      <a:lnTo>
                        <a:pt x="180" y="1150"/>
                      </a:lnTo>
                      <a:lnTo>
                        <a:pt x="178" y="1142"/>
                      </a:lnTo>
                      <a:lnTo>
                        <a:pt x="182" y="1136"/>
                      </a:lnTo>
                      <a:lnTo>
                        <a:pt x="190" y="1136"/>
                      </a:lnTo>
                      <a:lnTo>
                        <a:pt x="216" y="1098"/>
                      </a:lnTo>
                      <a:lnTo>
                        <a:pt x="222" y="1090"/>
                      </a:lnTo>
                      <a:lnTo>
                        <a:pt x="240" y="1062"/>
                      </a:lnTo>
                      <a:lnTo>
                        <a:pt x="246" y="1042"/>
                      </a:lnTo>
                      <a:lnTo>
                        <a:pt x="256" y="1030"/>
                      </a:lnTo>
                      <a:lnTo>
                        <a:pt x="278" y="988"/>
                      </a:lnTo>
                      <a:lnTo>
                        <a:pt x="292" y="964"/>
                      </a:lnTo>
                      <a:lnTo>
                        <a:pt x="292" y="964"/>
                      </a:lnTo>
                      <a:lnTo>
                        <a:pt x="296" y="960"/>
                      </a:lnTo>
                      <a:lnTo>
                        <a:pt x="296" y="960"/>
                      </a:lnTo>
                      <a:lnTo>
                        <a:pt x="284" y="1004"/>
                      </a:lnTo>
                      <a:lnTo>
                        <a:pt x="266" y="1058"/>
                      </a:lnTo>
                      <a:lnTo>
                        <a:pt x="244" y="1120"/>
                      </a:lnTo>
                      <a:lnTo>
                        <a:pt x="244" y="1120"/>
                      </a:lnTo>
                      <a:lnTo>
                        <a:pt x="236" y="1162"/>
                      </a:lnTo>
                      <a:lnTo>
                        <a:pt x="228" y="1200"/>
                      </a:lnTo>
                      <a:lnTo>
                        <a:pt x="224" y="1234"/>
                      </a:lnTo>
                      <a:lnTo>
                        <a:pt x="224" y="1234"/>
                      </a:lnTo>
                      <a:lnTo>
                        <a:pt x="222" y="1260"/>
                      </a:lnTo>
                      <a:lnTo>
                        <a:pt x="222" y="1278"/>
                      </a:lnTo>
                      <a:lnTo>
                        <a:pt x="224" y="1294"/>
                      </a:lnTo>
                      <a:lnTo>
                        <a:pt x="232" y="1330"/>
                      </a:lnTo>
                      <a:lnTo>
                        <a:pt x="238" y="1346"/>
                      </a:lnTo>
                      <a:lnTo>
                        <a:pt x="246" y="1354"/>
                      </a:lnTo>
                      <a:lnTo>
                        <a:pt x="246" y="1354"/>
                      </a:lnTo>
                      <a:lnTo>
                        <a:pt x="248" y="1354"/>
                      </a:lnTo>
                      <a:lnTo>
                        <a:pt x="252" y="1356"/>
                      </a:lnTo>
                      <a:lnTo>
                        <a:pt x="258" y="1360"/>
                      </a:lnTo>
                      <a:lnTo>
                        <a:pt x="262" y="1368"/>
                      </a:lnTo>
                      <a:lnTo>
                        <a:pt x="262" y="1368"/>
                      </a:lnTo>
                      <a:lnTo>
                        <a:pt x="264" y="1372"/>
                      </a:lnTo>
                      <a:lnTo>
                        <a:pt x="266" y="1378"/>
                      </a:lnTo>
                      <a:lnTo>
                        <a:pt x="274" y="1384"/>
                      </a:lnTo>
                      <a:lnTo>
                        <a:pt x="282" y="1390"/>
                      </a:lnTo>
                      <a:lnTo>
                        <a:pt x="306" y="1388"/>
                      </a:lnTo>
                      <a:lnTo>
                        <a:pt x="326" y="1386"/>
                      </a:lnTo>
                      <a:lnTo>
                        <a:pt x="326" y="1386"/>
                      </a:lnTo>
                      <a:lnTo>
                        <a:pt x="338" y="1388"/>
                      </a:lnTo>
                      <a:lnTo>
                        <a:pt x="358" y="1392"/>
                      </a:lnTo>
                      <a:lnTo>
                        <a:pt x="382" y="1392"/>
                      </a:lnTo>
                      <a:lnTo>
                        <a:pt x="382" y="1392"/>
                      </a:lnTo>
                      <a:lnTo>
                        <a:pt x="388" y="1390"/>
                      </a:lnTo>
                      <a:lnTo>
                        <a:pt x="388" y="1390"/>
                      </a:lnTo>
                      <a:lnTo>
                        <a:pt x="400" y="1386"/>
                      </a:lnTo>
                      <a:lnTo>
                        <a:pt x="408" y="1386"/>
                      </a:lnTo>
                      <a:lnTo>
                        <a:pt x="412" y="1386"/>
                      </a:lnTo>
                      <a:lnTo>
                        <a:pt x="416" y="1388"/>
                      </a:lnTo>
                      <a:lnTo>
                        <a:pt x="416" y="1388"/>
                      </a:lnTo>
                      <a:lnTo>
                        <a:pt x="422" y="1390"/>
                      </a:lnTo>
                      <a:lnTo>
                        <a:pt x="428" y="1392"/>
                      </a:lnTo>
                      <a:lnTo>
                        <a:pt x="446" y="1392"/>
                      </a:lnTo>
                      <a:lnTo>
                        <a:pt x="446" y="1392"/>
                      </a:lnTo>
                      <a:lnTo>
                        <a:pt x="450" y="1392"/>
                      </a:lnTo>
                      <a:lnTo>
                        <a:pt x="450" y="1392"/>
                      </a:lnTo>
                      <a:lnTo>
                        <a:pt x="464" y="1386"/>
                      </a:lnTo>
                      <a:lnTo>
                        <a:pt x="472" y="1382"/>
                      </a:lnTo>
                      <a:lnTo>
                        <a:pt x="472" y="1382"/>
                      </a:lnTo>
                      <a:lnTo>
                        <a:pt x="474" y="1380"/>
                      </a:lnTo>
                      <a:lnTo>
                        <a:pt x="476" y="1378"/>
                      </a:lnTo>
                      <a:lnTo>
                        <a:pt x="484" y="1378"/>
                      </a:lnTo>
                      <a:lnTo>
                        <a:pt x="496" y="1380"/>
                      </a:lnTo>
                      <a:lnTo>
                        <a:pt x="496" y="1380"/>
                      </a:lnTo>
                      <a:lnTo>
                        <a:pt x="504" y="1380"/>
                      </a:lnTo>
                      <a:lnTo>
                        <a:pt x="510" y="1380"/>
                      </a:lnTo>
                      <a:lnTo>
                        <a:pt x="520" y="1378"/>
                      </a:lnTo>
                      <a:lnTo>
                        <a:pt x="526" y="1374"/>
                      </a:lnTo>
                      <a:lnTo>
                        <a:pt x="528" y="1372"/>
                      </a:lnTo>
                      <a:lnTo>
                        <a:pt x="554" y="1350"/>
                      </a:lnTo>
                      <a:lnTo>
                        <a:pt x="582" y="1336"/>
                      </a:lnTo>
                      <a:lnTo>
                        <a:pt x="598" y="1314"/>
                      </a:lnTo>
                      <a:lnTo>
                        <a:pt x="598" y="1314"/>
                      </a:lnTo>
                      <a:lnTo>
                        <a:pt x="606" y="1306"/>
                      </a:lnTo>
                      <a:lnTo>
                        <a:pt x="612" y="1300"/>
                      </a:lnTo>
                      <a:lnTo>
                        <a:pt x="616" y="1292"/>
                      </a:lnTo>
                      <a:lnTo>
                        <a:pt x="616" y="1292"/>
                      </a:lnTo>
                      <a:lnTo>
                        <a:pt x="624" y="1270"/>
                      </a:lnTo>
                      <a:lnTo>
                        <a:pt x="628" y="1254"/>
                      </a:lnTo>
                      <a:lnTo>
                        <a:pt x="630" y="1178"/>
                      </a:lnTo>
                      <a:lnTo>
                        <a:pt x="630" y="1178"/>
                      </a:lnTo>
                      <a:lnTo>
                        <a:pt x="614" y="1116"/>
                      </a:lnTo>
                      <a:lnTo>
                        <a:pt x="614" y="1116"/>
                      </a:lnTo>
                      <a:lnTo>
                        <a:pt x="608" y="1104"/>
                      </a:lnTo>
                      <a:lnTo>
                        <a:pt x="594" y="1086"/>
                      </a:lnTo>
                      <a:lnTo>
                        <a:pt x="562" y="1042"/>
                      </a:lnTo>
                      <a:lnTo>
                        <a:pt x="678" y="1106"/>
                      </a:lnTo>
                      <a:lnTo>
                        <a:pt x="714" y="1124"/>
                      </a:lnTo>
                      <a:lnTo>
                        <a:pt x="750" y="1142"/>
                      </a:lnTo>
                      <a:lnTo>
                        <a:pt x="782" y="1146"/>
                      </a:lnTo>
                      <a:lnTo>
                        <a:pt x="822" y="1140"/>
                      </a:lnTo>
                      <a:lnTo>
                        <a:pt x="866" y="1120"/>
                      </a:lnTo>
                      <a:lnTo>
                        <a:pt x="910" y="1090"/>
                      </a:lnTo>
                      <a:lnTo>
                        <a:pt x="936" y="1070"/>
                      </a:lnTo>
                      <a:lnTo>
                        <a:pt x="1000" y="1006"/>
                      </a:lnTo>
                      <a:lnTo>
                        <a:pt x="1044" y="966"/>
                      </a:lnTo>
                      <a:lnTo>
                        <a:pt x="1148" y="864"/>
                      </a:lnTo>
                      <a:lnTo>
                        <a:pt x="1194" y="808"/>
                      </a:lnTo>
                      <a:lnTo>
                        <a:pt x="1210" y="784"/>
                      </a:lnTo>
                      <a:lnTo>
                        <a:pt x="1210" y="784"/>
                      </a:lnTo>
                      <a:lnTo>
                        <a:pt x="1212" y="782"/>
                      </a:lnTo>
                      <a:lnTo>
                        <a:pt x="1216" y="776"/>
                      </a:lnTo>
                      <a:lnTo>
                        <a:pt x="1216" y="756"/>
                      </a:lnTo>
                      <a:close/>
                      <a:moveTo>
                        <a:pt x="382" y="776"/>
                      </a:moveTo>
                      <a:lnTo>
                        <a:pt x="382" y="776"/>
                      </a:lnTo>
                      <a:lnTo>
                        <a:pt x="382" y="776"/>
                      </a:lnTo>
                      <a:lnTo>
                        <a:pt x="382" y="776"/>
                      </a:lnTo>
                      <a:lnTo>
                        <a:pt x="382" y="776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72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5" name="Group 58"/>
              <p:cNvGrpSpPr>
                <a:grpSpLocks noChangeAspect="1"/>
              </p:cNvGrpSpPr>
              <p:nvPr/>
            </p:nvGrpSpPr>
            <p:grpSpPr>
              <a:xfrm>
                <a:off x="7366653" y="-16"/>
                <a:ext cx="1266631" cy="990597"/>
                <a:chOff x="5410249" y="5114925"/>
                <a:chExt cx="1558925" cy="1219200"/>
              </a:xfrm>
              <a:solidFill>
                <a:schemeClr val="bg2">
                  <a:lumMod val="50000"/>
                  <a:lumOff val="50000"/>
                  <a:alpha val="18000"/>
                </a:schemeClr>
              </a:solidFill>
            </p:grpSpPr>
            <p:sp>
              <p:nvSpPr>
                <p:cNvPr id="151" name="Freeform 63"/>
                <p:cNvSpPr>
                  <a:spLocks/>
                </p:cNvSpPr>
                <p:nvPr/>
              </p:nvSpPr>
              <p:spPr bwMode="auto">
                <a:xfrm>
                  <a:off x="5819775" y="5114925"/>
                  <a:ext cx="228600" cy="231775"/>
                </a:xfrm>
                <a:custGeom>
                  <a:avLst/>
                  <a:gdLst>
                    <a:gd name="T0" fmla="*/ 144 w 144"/>
                    <a:gd name="T1" fmla="*/ 146 h 146"/>
                    <a:gd name="T2" fmla="*/ 144 w 144"/>
                    <a:gd name="T3" fmla="*/ 146 h 146"/>
                    <a:gd name="T4" fmla="*/ 144 w 144"/>
                    <a:gd name="T5" fmla="*/ 146 h 146"/>
                    <a:gd name="T6" fmla="*/ 144 w 144"/>
                    <a:gd name="T7" fmla="*/ 146 h 146"/>
                    <a:gd name="T8" fmla="*/ 132 w 144"/>
                    <a:gd name="T9" fmla="*/ 132 h 146"/>
                    <a:gd name="T10" fmla="*/ 32 w 144"/>
                    <a:gd name="T11" fmla="*/ 22 h 146"/>
                    <a:gd name="T12" fmla="*/ 32 w 144"/>
                    <a:gd name="T13" fmla="*/ 22 h 146"/>
                    <a:gd name="T14" fmla="*/ 18 w 144"/>
                    <a:gd name="T15" fmla="*/ 4 h 146"/>
                    <a:gd name="T16" fmla="*/ 18 w 144"/>
                    <a:gd name="T17" fmla="*/ 4 h 146"/>
                    <a:gd name="T18" fmla="*/ 12 w 144"/>
                    <a:gd name="T19" fmla="*/ 2 h 146"/>
                    <a:gd name="T20" fmla="*/ 8 w 144"/>
                    <a:gd name="T21" fmla="*/ 0 h 146"/>
                    <a:gd name="T22" fmla="*/ 8 w 144"/>
                    <a:gd name="T23" fmla="*/ 0 h 146"/>
                    <a:gd name="T24" fmla="*/ 0 w 144"/>
                    <a:gd name="T25" fmla="*/ 0 h 146"/>
                    <a:gd name="T26" fmla="*/ 0 w 144"/>
                    <a:gd name="T27" fmla="*/ 0 h 146"/>
                    <a:gd name="T28" fmla="*/ 6 w 144"/>
                    <a:gd name="T29" fmla="*/ 4 h 146"/>
                    <a:gd name="T30" fmla="*/ 6 w 144"/>
                    <a:gd name="T31" fmla="*/ 4 h 146"/>
                    <a:gd name="T32" fmla="*/ 22 w 144"/>
                    <a:gd name="T33" fmla="*/ 18 h 146"/>
                    <a:gd name="T34" fmla="*/ 130 w 144"/>
                    <a:gd name="T35" fmla="*/ 136 h 146"/>
                    <a:gd name="T36" fmla="*/ 130 w 144"/>
                    <a:gd name="T37" fmla="*/ 136 h 146"/>
                    <a:gd name="T38" fmla="*/ 144 w 144"/>
                    <a:gd name="T39" fmla="*/ 146 h 146"/>
                    <a:gd name="T40" fmla="*/ 144 w 144"/>
                    <a:gd name="T41" fmla="*/ 146 h 1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44" h="146">
                      <a:moveTo>
                        <a:pt x="144" y="146"/>
                      </a:moveTo>
                      <a:lnTo>
                        <a:pt x="144" y="146"/>
                      </a:lnTo>
                      <a:lnTo>
                        <a:pt x="144" y="146"/>
                      </a:lnTo>
                      <a:lnTo>
                        <a:pt x="144" y="146"/>
                      </a:lnTo>
                      <a:lnTo>
                        <a:pt x="132" y="132"/>
                      </a:lnTo>
                      <a:lnTo>
                        <a:pt x="32" y="22"/>
                      </a:lnTo>
                      <a:lnTo>
                        <a:pt x="32" y="22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2" y="2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22" y="18"/>
                      </a:lnTo>
                      <a:lnTo>
                        <a:pt x="130" y="136"/>
                      </a:lnTo>
                      <a:lnTo>
                        <a:pt x="130" y="136"/>
                      </a:lnTo>
                      <a:lnTo>
                        <a:pt x="144" y="146"/>
                      </a:lnTo>
                      <a:lnTo>
                        <a:pt x="144" y="1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2" name="Freeform 64"/>
                <p:cNvSpPr>
                  <a:spLocks/>
                </p:cNvSpPr>
                <p:nvPr/>
              </p:nvSpPr>
              <p:spPr bwMode="auto">
                <a:xfrm>
                  <a:off x="6051550" y="535305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3" name="Freeform 65"/>
                <p:cNvSpPr>
                  <a:spLocks/>
                </p:cNvSpPr>
                <p:nvPr/>
              </p:nvSpPr>
              <p:spPr bwMode="auto">
                <a:xfrm>
                  <a:off x="6061075" y="5114925"/>
                  <a:ext cx="104775" cy="228600"/>
                </a:xfrm>
                <a:custGeom>
                  <a:avLst/>
                  <a:gdLst>
                    <a:gd name="T0" fmla="*/ 2 w 66"/>
                    <a:gd name="T1" fmla="*/ 144 h 144"/>
                    <a:gd name="T2" fmla="*/ 2 w 66"/>
                    <a:gd name="T3" fmla="*/ 144 h 144"/>
                    <a:gd name="T4" fmla="*/ 10 w 66"/>
                    <a:gd name="T5" fmla="*/ 130 h 144"/>
                    <a:gd name="T6" fmla="*/ 62 w 66"/>
                    <a:gd name="T7" fmla="*/ 14 h 144"/>
                    <a:gd name="T8" fmla="*/ 62 w 66"/>
                    <a:gd name="T9" fmla="*/ 14 h 144"/>
                    <a:gd name="T10" fmla="*/ 66 w 66"/>
                    <a:gd name="T11" fmla="*/ 4 h 144"/>
                    <a:gd name="T12" fmla="*/ 66 w 66"/>
                    <a:gd name="T13" fmla="*/ 2 h 144"/>
                    <a:gd name="T14" fmla="*/ 66 w 66"/>
                    <a:gd name="T15" fmla="*/ 0 h 144"/>
                    <a:gd name="T16" fmla="*/ 66 w 66"/>
                    <a:gd name="T17" fmla="*/ 0 h 144"/>
                    <a:gd name="T18" fmla="*/ 62 w 66"/>
                    <a:gd name="T19" fmla="*/ 4 h 144"/>
                    <a:gd name="T20" fmla="*/ 56 w 66"/>
                    <a:gd name="T21" fmla="*/ 14 h 144"/>
                    <a:gd name="T22" fmla="*/ 6 w 66"/>
                    <a:gd name="T23" fmla="*/ 128 h 144"/>
                    <a:gd name="T24" fmla="*/ 6 w 66"/>
                    <a:gd name="T25" fmla="*/ 128 h 144"/>
                    <a:gd name="T26" fmla="*/ 0 w 66"/>
                    <a:gd name="T27" fmla="*/ 144 h 144"/>
                    <a:gd name="T28" fmla="*/ 0 w 66"/>
                    <a:gd name="T29" fmla="*/ 144 h 144"/>
                    <a:gd name="T30" fmla="*/ 0 w 66"/>
                    <a:gd name="T31" fmla="*/ 144 h 144"/>
                    <a:gd name="T32" fmla="*/ 0 w 66"/>
                    <a:gd name="T33" fmla="*/ 144 h 144"/>
                    <a:gd name="T34" fmla="*/ 2 w 66"/>
                    <a:gd name="T35" fmla="*/ 144 h 144"/>
                    <a:gd name="T36" fmla="*/ 2 w 66"/>
                    <a:gd name="T37" fmla="*/ 144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66" h="144">
                      <a:moveTo>
                        <a:pt x="2" y="144"/>
                      </a:moveTo>
                      <a:lnTo>
                        <a:pt x="2" y="144"/>
                      </a:lnTo>
                      <a:lnTo>
                        <a:pt x="10" y="130"/>
                      </a:lnTo>
                      <a:lnTo>
                        <a:pt x="62" y="14"/>
                      </a:lnTo>
                      <a:lnTo>
                        <a:pt x="62" y="14"/>
                      </a:lnTo>
                      <a:lnTo>
                        <a:pt x="66" y="4"/>
                      </a:lnTo>
                      <a:lnTo>
                        <a:pt x="66" y="2"/>
                      </a:lnTo>
                      <a:lnTo>
                        <a:pt x="66" y="0"/>
                      </a:lnTo>
                      <a:lnTo>
                        <a:pt x="66" y="0"/>
                      </a:lnTo>
                      <a:lnTo>
                        <a:pt x="62" y="4"/>
                      </a:lnTo>
                      <a:lnTo>
                        <a:pt x="56" y="14"/>
                      </a:lnTo>
                      <a:lnTo>
                        <a:pt x="6" y="128"/>
                      </a:lnTo>
                      <a:lnTo>
                        <a:pt x="6" y="128"/>
                      </a:lnTo>
                      <a:lnTo>
                        <a:pt x="0" y="144"/>
                      </a:lnTo>
                      <a:lnTo>
                        <a:pt x="0" y="144"/>
                      </a:lnTo>
                      <a:lnTo>
                        <a:pt x="0" y="144"/>
                      </a:lnTo>
                      <a:lnTo>
                        <a:pt x="0" y="144"/>
                      </a:lnTo>
                      <a:lnTo>
                        <a:pt x="2" y="144"/>
                      </a:lnTo>
                      <a:lnTo>
                        <a:pt x="2" y="1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4" name="Freeform 66"/>
                <p:cNvSpPr>
                  <a:spLocks noEditPoints="1"/>
                </p:cNvSpPr>
                <p:nvPr/>
              </p:nvSpPr>
              <p:spPr bwMode="auto">
                <a:xfrm>
                  <a:off x="5410249" y="5114925"/>
                  <a:ext cx="1558925" cy="1219200"/>
                </a:xfrm>
                <a:custGeom>
                  <a:avLst/>
                  <a:gdLst>
                    <a:gd name="T0" fmla="*/ 604 w 982"/>
                    <a:gd name="T1" fmla="*/ 146 h 768"/>
                    <a:gd name="T2" fmla="*/ 588 w 982"/>
                    <a:gd name="T3" fmla="*/ 156 h 768"/>
                    <a:gd name="T4" fmla="*/ 572 w 982"/>
                    <a:gd name="T5" fmla="*/ 144 h 768"/>
                    <a:gd name="T6" fmla="*/ 560 w 982"/>
                    <a:gd name="T7" fmla="*/ 146 h 768"/>
                    <a:gd name="T8" fmla="*/ 550 w 982"/>
                    <a:gd name="T9" fmla="*/ 152 h 768"/>
                    <a:gd name="T10" fmla="*/ 542 w 982"/>
                    <a:gd name="T11" fmla="*/ 182 h 768"/>
                    <a:gd name="T12" fmla="*/ 346 w 982"/>
                    <a:gd name="T13" fmla="*/ 0 h 768"/>
                    <a:gd name="T14" fmla="*/ 44 w 982"/>
                    <a:gd name="T15" fmla="*/ 62 h 768"/>
                    <a:gd name="T16" fmla="*/ 76 w 982"/>
                    <a:gd name="T17" fmla="*/ 92 h 768"/>
                    <a:gd name="T18" fmla="*/ 110 w 982"/>
                    <a:gd name="T19" fmla="*/ 124 h 768"/>
                    <a:gd name="T20" fmla="*/ 126 w 982"/>
                    <a:gd name="T21" fmla="*/ 160 h 768"/>
                    <a:gd name="T22" fmla="*/ 146 w 982"/>
                    <a:gd name="T23" fmla="*/ 188 h 768"/>
                    <a:gd name="T24" fmla="*/ 166 w 982"/>
                    <a:gd name="T25" fmla="*/ 220 h 768"/>
                    <a:gd name="T26" fmla="*/ 206 w 982"/>
                    <a:gd name="T27" fmla="*/ 270 h 768"/>
                    <a:gd name="T28" fmla="*/ 322 w 982"/>
                    <a:gd name="T29" fmla="*/ 280 h 768"/>
                    <a:gd name="T30" fmla="*/ 294 w 982"/>
                    <a:gd name="T31" fmla="*/ 348 h 768"/>
                    <a:gd name="T32" fmla="*/ 256 w 982"/>
                    <a:gd name="T33" fmla="*/ 484 h 768"/>
                    <a:gd name="T34" fmla="*/ 282 w 982"/>
                    <a:gd name="T35" fmla="*/ 514 h 768"/>
                    <a:gd name="T36" fmla="*/ 312 w 982"/>
                    <a:gd name="T37" fmla="*/ 550 h 768"/>
                    <a:gd name="T38" fmla="*/ 330 w 982"/>
                    <a:gd name="T39" fmla="*/ 570 h 768"/>
                    <a:gd name="T40" fmla="*/ 350 w 982"/>
                    <a:gd name="T41" fmla="*/ 598 h 768"/>
                    <a:gd name="T42" fmla="*/ 378 w 982"/>
                    <a:gd name="T43" fmla="*/ 616 h 768"/>
                    <a:gd name="T44" fmla="*/ 354 w 982"/>
                    <a:gd name="T45" fmla="*/ 684 h 768"/>
                    <a:gd name="T46" fmla="*/ 338 w 982"/>
                    <a:gd name="T47" fmla="*/ 754 h 768"/>
                    <a:gd name="T48" fmla="*/ 378 w 982"/>
                    <a:gd name="T49" fmla="*/ 758 h 768"/>
                    <a:gd name="T50" fmla="*/ 414 w 982"/>
                    <a:gd name="T51" fmla="*/ 660 h 768"/>
                    <a:gd name="T52" fmla="*/ 456 w 982"/>
                    <a:gd name="T53" fmla="*/ 662 h 768"/>
                    <a:gd name="T54" fmla="*/ 474 w 982"/>
                    <a:gd name="T55" fmla="*/ 652 h 768"/>
                    <a:gd name="T56" fmla="*/ 504 w 982"/>
                    <a:gd name="T57" fmla="*/ 652 h 768"/>
                    <a:gd name="T58" fmla="*/ 530 w 982"/>
                    <a:gd name="T59" fmla="*/ 582 h 768"/>
                    <a:gd name="T60" fmla="*/ 560 w 982"/>
                    <a:gd name="T61" fmla="*/ 332 h 768"/>
                    <a:gd name="T62" fmla="*/ 568 w 982"/>
                    <a:gd name="T63" fmla="*/ 306 h 768"/>
                    <a:gd name="T64" fmla="*/ 586 w 982"/>
                    <a:gd name="T65" fmla="*/ 428 h 768"/>
                    <a:gd name="T66" fmla="*/ 636 w 982"/>
                    <a:gd name="T67" fmla="*/ 484 h 768"/>
                    <a:gd name="T68" fmla="*/ 628 w 982"/>
                    <a:gd name="T69" fmla="*/ 376 h 768"/>
                    <a:gd name="T70" fmla="*/ 612 w 982"/>
                    <a:gd name="T71" fmla="*/ 288 h 768"/>
                    <a:gd name="T72" fmla="*/ 678 w 982"/>
                    <a:gd name="T73" fmla="*/ 454 h 768"/>
                    <a:gd name="T74" fmla="*/ 762 w 982"/>
                    <a:gd name="T75" fmla="*/ 592 h 768"/>
                    <a:gd name="T76" fmla="*/ 790 w 982"/>
                    <a:gd name="T77" fmla="*/ 602 h 768"/>
                    <a:gd name="T78" fmla="*/ 820 w 982"/>
                    <a:gd name="T79" fmla="*/ 598 h 768"/>
                    <a:gd name="T80" fmla="*/ 842 w 982"/>
                    <a:gd name="T81" fmla="*/ 590 h 768"/>
                    <a:gd name="T82" fmla="*/ 886 w 982"/>
                    <a:gd name="T83" fmla="*/ 598 h 768"/>
                    <a:gd name="T84" fmla="*/ 958 w 982"/>
                    <a:gd name="T85" fmla="*/ 668 h 768"/>
                    <a:gd name="T86" fmla="*/ 964 w 982"/>
                    <a:gd name="T87" fmla="*/ 616 h 768"/>
                    <a:gd name="T88" fmla="*/ 920 w 982"/>
                    <a:gd name="T89" fmla="*/ 576 h 768"/>
                    <a:gd name="T90" fmla="*/ 894 w 982"/>
                    <a:gd name="T91" fmla="*/ 516 h 768"/>
                    <a:gd name="T92" fmla="*/ 920 w 982"/>
                    <a:gd name="T93" fmla="*/ 500 h 768"/>
                    <a:gd name="T94" fmla="*/ 920 w 982"/>
                    <a:gd name="T95" fmla="*/ 460 h 768"/>
                    <a:gd name="T96" fmla="*/ 950 w 982"/>
                    <a:gd name="T97" fmla="*/ 436 h 768"/>
                    <a:gd name="T98" fmla="*/ 956 w 982"/>
                    <a:gd name="T99" fmla="*/ 388 h 768"/>
                    <a:gd name="T100" fmla="*/ 934 w 982"/>
                    <a:gd name="T101" fmla="*/ 318 h 768"/>
                    <a:gd name="T102" fmla="*/ 866 w 982"/>
                    <a:gd name="T103" fmla="*/ 238 h 768"/>
                    <a:gd name="T104" fmla="*/ 914 w 982"/>
                    <a:gd name="T105" fmla="*/ 178 h 768"/>
                    <a:gd name="T106" fmla="*/ 958 w 982"/>
                    <a:gd name="T107" fmla="*/ 118 h 768"/>
                    <a:gd name="T108" fmla="*/ 970 w 982"/>
                    <a:gd name="T109" fmla="*/ 78 h 768"/>
                    <a:gd name="T110" fmla="*/ 970 w 982"/>
                    <a:gd name="T111" fmla="*/ 38 h 768"/>
                    <a:gd name="T112" fmla="*/ 978 w 982"/>
                    <a:gd name="T113" fmla="*/ 14 h 768"/>
                    <a:gd name="T114" fmla="*/ 562 w 982"/>
                    <a:gd name="T115" fmla="*/ 150 h 7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982" h="768">
                      <a:moveTo>
                        <a:pt x="676" y="0"/>
                      </a:moveTo>
                      <a:lnTo>
                        <a:pt x="676" y="0"/>
                      </a:lnTo>
                      <a:lnTo>
                        <a:pt x="666" y="14"/>
                      </a:lnTo>
                      <a:lnTo>
                        <a:pt x="666" y="14"/>
                      </a:lnTo>
                      <a:lnTo>
                        <a:pt x="654" y="36"/>
                      </a:lnTo>
                      <a:lnTo>
                        <a:pt x="642" y="58"/>
                      </a:lnTo>
                      <a:lnTo>
                        <a:pt x="620" y="104"/>
                      </a:lnTo>
                      <a:lnTo>
                        <a:pt x="604" y="146"/>
                      </a:lnTo>
                      <a:lnTo>
                        <a:pt x="594" y="174"/>
                      </a:lnTo>
                      <a:lnTo>
                        <a:pt x="594" y="174"/>
                      </a:lnTo>
                      <a:lnTo>
                        <a:pt x="592" y="170"/>
                      </a:lnTo>
                      <a:lnTo>
                        <a:pt x="586" y="164"/>
                      </a:lnTo>
                      <a:lnTo>
                        <a:pt x="586" y="164"/>
                      </a:lnTo>
                      <a:lnTo>
                        <a:pt x="588" y="160"/>
                      </a:lnTo>
                      <a:lnTo>
                        <a:pt x="588" y="156"/>
                      </a:lnTo>
                      <a:lnTo>
                        <a:pt x="588" y="156"/>
                      </a:lnTo>
                      <a:lnTo>
                        <a:pt x="586" y="152"/>
                      </a:lnTo>
                      <a:lnTo>
                        <a:pt x="582" y="148"/>
                      </a:lnTo>
                      <a:lnTo>
                        <a:pt x="580" y="146"/>
                      </a:lnTo>
                      <a:lnTo>
                        <a:pt x="574" y="146"/>
                      </a:lnTo>
                      <a:lnTo>
                        <a:pt x="574" y="146"/>
                      </a:lnTo>
                      <a:lnTo>
                        <a:pt x="574" y="146"/>
                      </a:lnTo>
                      <a:lnTo>
                        <a:pt x="574" y="144"/>
                      </a:lnTo>
                      <a:lnTo>
                        <a:pt x="572" y="144"/>
                      </a:lnTo>
                      <a:lnTo>
                        <a:pt x="568" y="144"/>
                      </a:lnTo>
                      <a:lnTo>
                        <a:pt x="568" y="144"/>
                      </a:lnTo>
                      <a:lnTo>
                        <a:pt x="564" y="142"/>
                      </a:lnTo>
                      <a:lnTo>
                        <a:pt x="564" y="144"/>
                      </a:lnTo>
                      <a:lnTo>
                        <a:pt x="564" y="142"/>
                      </a:lnTo>
                      <a:lnTo>
                        <a:pt x="562" y="144"/>
                      </a:lnTo>
                      <a:lnTo>
                        <a:pt x="560" y="144"/>
                      </a:lnTo>
                      <a:lnTo>
                        <a:pt x="560" y="146"/>
                      </a:lnTo>
                      <a:lnTo>
                        <a:pt x="558" y="146"/>
                      </a:lnTo>
                      <a:lnTo>
                        <a:pt x="556" y="148"/>
                      </a:lnTo>
                      <a:lnTo>
                        <a:pt x="558" y="150"/>
                      </a:lnTo>
                      <a:lnTo>
                        <a:pt x="558" y="150"/>
                      </a:lnTo>
                      <a:lnTo>
                        <a:pt x="558" y="150"/>
                      </a:lnTo>
                      <a:lnTo>
                        <a:pt x="554" y="150"/>
                      </a:lnTo>
                      <a:lnTo>
                        <a:pt x="554" y="150"/>
                      </a:lnTo>
                      <a:lnTo>
                        <a:pt x="550" y="152"/>
                      </a:lnTo>
                      <a:lnTo>
                        <a:pt x="546" y="154"/>
                      </a:lnTo>
                      <a:lnTo>
                        <a:pt x="544" y="158"/>
                      </a:lnTo>
                      <a:lnTo>
                        <a:pt x="544" y="162"/>
                      </a:lnTo>
                      <a:lnTo>
                        <a:pt x="544" y="162"/>
                      </a:lnTo>
                      <a:lnTo>
                        <a:pt x="548" y="168"/>
                      </a:lnTo>
                      <a:lnTo>
                        <a:pt x="548" y="168"/>
                      </a:lnTo>
                      <a:lnTo>
                        <a:pt x="542" y="182"/>
                      </a:lnTo>
                      <a:lnTo>
                        <a:pt x="542" y="182"/>
                      </a:lnTo>
                      <a:lnTo>
                        <a:pt x="522" y="158"/>
                      </a:lnTo>
                      <a:lnTo>
                        <a:pt x="494" y="124"/>
                      </a:lnTo>
                      <a:lnTo>
                        <a:pt x="460" y="88"/>
                      </a:lnTo>
                      <a:lnTo>
                        <a:pt x="442" y="70"/>
                      </a:lnTo>
                      <a:lnTo>
                        <a:pt x="424" y="54"/>
                      </a:lnTo>
                      <a:lnTo>
                        <a:pt x="424" y="54"/>
                      </a:lnTo>
                      <a:lnTo>
                        <a:pt x="384" y="26"/>
                      </a:lnTo>
                      <a:lnTo>
                        <a:pt x="346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10" y="28"/>
                      </a:lnTo>
                      <a:lnTo>
                        <a:pt x="24" y="48"/>
                      </a:lnTo>
                      <a:lnTo>
                        <a:pt x="24" y="48"/>
                      </a:lnTo>
                      <a:lnTo>
                        <a:pt x="32" y="54"/>
                      </a:lnTo>
                      <a:lnTo>
                        <a:pt x="38" y="60"/>
                      </a:lnTo>
                      <a:lnTo>
                        <a:pt x="44" y="62"/>
                      </a:lnTo>
                      <a:lnTo>
                        <a:pt x="44" y="62"/>
                      </a:lnTo>
                      <a:lnTo>
                        <a:pt x="48" y="66"/>
                      </a:lnTo>
                      <a:lnTo>
                        <a:pt x="52" y="70"/>
                      </a:lnTo>
                      <a:lnTo>
                        <a:pt x="56" y="76"/>
                      </a:lnTo>
                      <a:lnTo>
                        <a:pt x="56" y="76"/>
                      </a:lnTo>
                      <a:lnTo>
                        <a:pt x="62" y="82"/>
                      </a:lnTo>
                      <a:lnTo>
                        <a:pt x="68" y="88"/>
                      </a:lnTo>
                      <a:lnTo>
                        <a:pt x="76" y="92"/>
                      </a:lnTo>
                      <a:lnTo>
                        <a:pt x="76" y="92"/>
                      </a:lnTo>
                      <a:lnTo>
                        <a:pt x="84" y="96"/>
                      </a:lnTo>
                      <a:lnTo>
                        <a:pt x="92" y="102"/>
                      </a:lnTo>
                      <a:lnTo>
                        <a:pt x="98" y="108"/>
                      </a:lnTo>
                      <a:lnTo>
                        <a:pt x="100" y="112"/>
                      </a:lnTo>
                      <a:lnTo>
                        <a:pt x="100" y="112"/>
                      </a:lnTo>
                      <a:lnTo>
                        <a:pt x="104" y="118"/>
                      </a:lnTo>
                      <a:lnTo>
                        <a:pt x="110" y="124"/>
                      </a:lnTo>
                      <a:lnTo>
                        <a:pt x="120" y="132"/>
                      </a:lnTo>
                      <a:lnTo>
                        <a:pt x="120" y="132"/>
                      </a:lnTo>
                      <a:lnTo>
                        <a:pt x="126" y="142"/>
                      </a:lnTo>
                      <a:lnTo>
                        <a:pt x="128" y="152"/>
                      </a:lnTo>
                      <a:lnTo>
                        <a:pt x="128" y="154"/>
                      </a:lnTo>
                      <a:lnTo>
                        <a:pt x="128" y="158"/>
                      </a:lnTo>
                      <a:lnTo>
                        <a:pt x="128" y="158"/>
                      </a:lnTo>
                      <a:lnTo>
                        <a:pt x="126" y="160"/>
                      </a:lnTo>
                      <a:lnTo>
                        <a:pt x="128" y="162"/>
                      </a:lnTo>
                      <a:lnTo>
                        <a:pt x="132" y="166"/>
                      </a:lnTo>
                      <a:lnTo>
                        <a:pt x="138" y="170"/>
                      </a:lnTo>
                      <a:lnTo>
                        <a:pt x="138" y="170"/>
                      </a:lnTo>
                      <a:lnTo>
                        <a:pt x="144" y="176"/>
                      </a:lnTo>
                      <a:lnTo>
                        <a:pt x="146" y="182"/>
                      </a:lnTo>
                      <a:lnTo>
                        <a:pt x="146" y="184"/>
                      </a:lnTo>
                      <a:lnTo>
                        <a:pt x="146" y="188"/>
                      </a:lnTo>
                      <a:lnTo>
                        <a:pt x="146" y="188"/>
                      </a:lnTo>
                      <a:lnTo>
                        <a:pt x="146" y="192"/>
                      </a:lnTo>
                      <a:lnTo>
                        <a:pt x="146" y="196"/>
                      </a:lnTo>
                      <a:lnTo>
                        <a:pt x="150" y="206"/>
                      </a:lnTo>
                      <a:lnTo>
                        <a:pt x="156" y="214"/>
                      </a:lnTo>
                      <a:lnTo>
                        <a:pt x="162" y="218"/>
                      </a:lnTo>
                      <a:lnTo>
                        <a:pt x="162" y="218"/>
                      </a:lnTo>
                      <a:lnTo>
                        <a:pt x="166" y="220"/>
                      </a:lnTo>
                      <a:lnTo>
                        <a:pt x="170" y="226"/>
                      </a:lnTo>
                      <a:lnTo>
                        <a:pt x="172" y="234"/>
                      </a:lnTo>
                      <a:lnTo>
                        <a:pt x="172" y="234"/>
                      </a:lnTo>
                      <a:lnTo>
                        <a:pt x="176" y="240"/>
                      </a:lnTo>
                      <a:lnTo>
                        <a:pt x="182" y="248"/>
                      </a:lnTo>
                      <a:lnTo>
                        <a:pt x="192" y="256"/>
                      </a:lnTo>
                      <a:lnTo>
                        <a:pt x="192" y="256"/>
                      </a:lnTo>
                      <a:lnTo>
                        <a:pt x="206" y="270"/>
                      </a:lnTo>
                      <a:lnTo>
                        <a:pt x="216" y="280"/>
                      </a:lnTo>
                      <a:lnTo>
                        <a:pt x="216" y="280"/>
                      </a:lnTo>
                      <a:lnTo>
                        <a:pt x="222" y="284"/>
                      </a:lnTo>
                      <a:lnTo>
                        <a:pt x="232" y="286"/>
                      </a:lnTo>
                      <a:lnTo>
                        <a:pt x="242" y="290"/>
                      </a:lnTo>
                      <a:lnTo>
                        <a:pt x="270" y="288"/>
                      </a:lnTo>
                      <a:lnTo>
                        <a:pt x="296" y="284"/>
                      </a:lnTo>
                      <a:lnTo>
                        <a:pt x="322" y="280"/>
                      </a:lnTo>
                      <a:lnTo>
                        <a:pt x="358" y="276"/>
                      </a:lnTo>
                      <a:lnTo>
                        <a:pt x="368" y="276"/>
                      </a:lnTo>
                      <a:lnTo>
                        <a:pt x="368" y="276"/>
                      </a:lnTo>
                      <a:lnTo>
                        <a:pt x="320" y="316"/>
                      </a:lnTo>
                      <a:lnTo>
                        <a:pt x="308" y="330"/>
                      </a:lnTo>
                      <a:lnTo>
                        <a:pt x="300" y="340"/>
                      </a:lnTo>
                      <a:lnTo>
                        <a:pt x="296" y="346"/>
                      </a:lnTo>
                      <a:lnTo>
                        <a:pt x="294" y="348"/>
                      </a:lnTo>
                      <a:lnTo>
                        <a:pt x="294" y="350"/>
                      </a:lnTo>
                      <a:lnTo>
                        <a:pt x="266" y="412"/>
                      </a:lnTo>
                      <a:lnTo>
                        <a:pt x="270" y="420"/>
                      </a:lnTo>
                      <a:lnTo>
                        <a:pt x="270" y="428"/>
                      </a:lnTo>
                      <a:lnTo>
                        <a:pt x="264" y="446"/>
                      </a:lnTo>
                      <a:lnTo>
                        <a:pt x="258" y="460"/>
                      </a:lnTo>
                      <a:lnTo>
                        <a:pt x="256" y="484"/>
                      </a:lnTo>
                      <a:lnTo>
                        <a:pt x="256" y="484"/>
                      </a:lnTo>
                      <a:lnTo>
                        <a:pt x="260" y="492"/>
                      </a:lnTo>
                      <a:lnTo>
                        <a:pt x="264" y="498"/>
                      </a:lnTo>
                      <a:lnTo>
                        <a:pt x="268" y="500"/>
                      </a:lnTo>
                      <a:lnTo>
                        <a:pt x="272" y="502"/>
                      </a:lnTo>
                      <a:lnTo>
                        <a:pt x="272" y="502"/>
                      </a:lnTo>
                      <a:lnTo>
                        <a:pt x="276" y="504"/>
                      </a:lnTo>
                      <a:lnTo>
                        <a:pt x="278" y="506"/>
                      </a:lnTo>
                      <a:lnTo>
                        <a:pt x="282" y="514"/>
                      </a:lnTo>
                      <a:lnTo>
                        <a:pt x="282" y="524"/>
                      </a:lnTo>
                      <a:lnTo>
                        <a:pt x="286" y="540"/>
                      </a:lnTo>
                      <a:lnTo>
                        <a:pt x="286" y="540"/>
                      </a:lnTo>
                      <a:lnTo>
                        <a:pt x="288" y="542"/>
                      </a:lnTo>
                      <a:lnTo>
                        <a:pt x="292" y="546"/>
                      </a:lnTo>
                      <a:lnTo>
                        <a:pt x="300" y="550"/>
                      </a:lnTo>
                      <a:lnTo>
                        <a:pt x="306" y="550"/>
                      </a:lnTo>
                      <a:lnTo>
                        <a:pt x="312" y="550"/>
                      </a:lnTo>
                      <a:lnTo>
                        <a:pt x="312" y="550"/>
                      </a:lnTo>
                      <a:lnTo>
                        <a:pt x="318" y="550"/>
                      </a:lnTo>
                      <a:lnTo>
                        <a:pt x="322" y="552"/>
                      </a:lnTo>
                      <a:lnTo>
                        <a:pt x="326" y="554"/>
                      </a:lnTo>
                      <a:lnTo>
                        <a:pt x="328" y="558"/>
                      </a:lnTo>
                      <a:lnTo>
                        <a:pt x="330" y="566"/>
                      </a:lnTo>
                      <a:lnTo>
                        <a:pt x="330" y="570"/>
                      </a:lnTo>
                      <a:lnTo>
                        <a:pt x="330" y="570"/>
                      </a:lnTo>
                      <a:lnTo>
                        <a:pt x="332" y="580"/>
                      </a:lnTo>
                      <a:lnTo>
                        <a:pt x="334" y="588"/>
                      </a:lnTo>
                      <a:lnTo>
                        <a:pt x="336" y="594"/>
                      </a:lnTo>
                      <a:lnTo>
                        <a:pt x="336" y="594"/>
                      </a:lnTo>
                      <a:lnTo>
                        <a:pt x="340" y="598"/>
                      </a:lnTo>
                      <a:lnTo>
                        <a:pt x="344" y="598"/>
                      </a:lnTo>
                      <a:lnTo>
                        <a:pt x="350" y="598"/>
                      </a:lnTo>
                      <a:lnTo>
                        <a:pt x="350" y="598"/>
                      </a:lnTo>
                      <a:lnTo>
                        <a:pt x="358" y="598"/>
                      </a:lnTo>
                      <a:lnTo>
                        <a:pt x="364" y="598"/>
                      </a:lnTo>
                      <a:lnTo>
                        <a:pt x="370" y="600"/>
                      </a:lnTo>
                      <a:lnTo>
                        <a:pt x="372" y="604"/>
                      </a:lnTo>
                      <a:lnTo>
                        <a:pt x="372" y="604"/>
                      </a:lnTo>
                      <a:lnTo>
                        <a:pt x="374" y="608"/>
                      </a:lnTo>
                      <a:lnTo>
                        <a:pt x="378" y="612"/>
                      </a:lnTo>
                      <a:lnTo>
                        <a:pt x="378" y="616"/>
                      </a:lnTo>
                      <a:lnTo>
                        <a:pt x="380" y="622"/>
                      </a:lnTo>
                      <a:lnTo>
                        <a:pt x="378" y="628"/>
                      </a:lnTo>
                      <a:lnTo>
                        <a:pt x="376" y="636"/>
                      </a:lnTo>
                      <a:lnTo>
                        <a:pt x="376" y="636"/>
                      </a:lnTo>
                      <a:lnTo>
                        <a:pt x="364" y="668"/>
                      </a:lnTo>
                      <a:lnTo>
                        <a:pt x="360" y="680"/>
                      </a:lnTo>
                      <a:lnTo>
                        <a:pt x="354" y="684"/>
                      </a:lnTo>
                      <a:lnTo>
                        <a:pt x="354" y="684"/>
                      </a:lnTo>
                      <a:lnTo>
                        <a:pt x="348" y="692"/>
                      </a:lnTo>
                      <a:lnTo>
                        <a:pt x="344" y="702"/>
                      </a:lnTo>
                      <a:lnTo>
                        <a:pt x="338" y="716"/>
                      </a:lnTo>
                      <a:lnTo>
                        <a:pt x="338" y="716"/>
                      </a:lnTo>
                      <a:lnTo>
                        <a:pt x="336" y="720"/>
                      </a:lnTo>
                      <a:lnTo>
                        <a:pt x="334" y="734"/>
                      </a:lnTo>
                      <a:lnTo>
                        <a:pt x="336" y="748"/>
                      </a:lnTo>
                      <a:lnTo>
                        <a:pt x="338" y="754"/>
                      </a:lnTo>
                      <a:lnTo>
                        <a:pt x="342" y="760"/>
                      </a:lnTo>
                      <a:lnTo>
                        <a:pt x="342" y="760"/>
                      </a:lnTo>
                      <a:lnTo>
                        <a:pt x="348" y="764"/>
                      </a:lnTo>
                      <a:lnTo>
                        <a:pt x="356" y="768"/>
                      </a:lnTo>
                      <a:lnTo>
                        <a:pt x="364" y="768"/>
                      </a:lnTo>
                      <a:lnTo>
                        <a:pt x="364" y="768"/>
                      </a:lnTo>
                      <a:lnTo>
                        <a:pt x="372" y="764"/>
                      </a:lnTo>
                      <a:lnTo>
                        <a:pt x="378" y="758"/>
                      </a:lnTo>
                      <a:lnTo>
                        <a:pt x="386" y="746"/>
                      </a:lnTo>
                      <a:lnTo>
                        <a:pt x="390" y="730"/>
                      </a:lnTo>
                      <a:lnTo>
                        <a:pt x="390" y="730"/>
                      </a:lnTo>
                      <a:lnTo>
                        <a:pt x="398" y="700"/>
                      </a:lnTo>
                      <a:lnTo>
                        <a:pt x="406" y="678"/>
                      </a:lnTo>
                      <a:lnTo>
                        <a:pt x="412" y="662"/>
                      </a:lnTo>
                      <a:lnTo>
                        <a:pt x="412" y="662"/>
                      </a:lnTo>
                      <a:lnTo>
                        <a:pt x="414" y="660"/>
                      </a:lnTo>
                      <a:lnTo>
                        <a:pt x="418" y="658"/>
                      </a:lnTo>
                      <a:lnTo>
                        <a:pt x="428" y="654"/>
                      </a:lnTo>
                      <a:lnTo>
                        <a:pt x="434" y="654"/>
                      </a:lnTo>
                      <a:lnTo>
                        <a:pt x="444" y="656"/>
                      </a:lnTo>
                      <a:lnTo>
                        <a:pt x="444" y="656"/>
                      </a:lnTo>
                      <a:lnTo>
                        <a:pt x="454" y="660"/>
                      </a:lnTo>
                      <a:lnTo>
                        <a:pt x="456" y="660"/>
                      </a:lnTo>
                      <a:lnTo>
                        <a:pt x="456" y="662"/>
                      </a:lnTo>
                      <a:lnTo>
                        <a:pt x="454" y="662"/>
                      </a:lnTo>
                      <a:lnTo>
                        <a:pt x="456" y="662"/>
                      </a:lnTo>
                      <a:lnTo>
                        <a:pt x="456" y="662"/>
                      </a:lnTo>
                      <a:lnTo>
                        <a:pt x="462" y="660"/>
                      </a:lnTo>
                      <a:lnTo>
                        <a:pt x="466" y="658"/>
                      </a:lnTo>
                      <a:lnTo>
                        <a:pt x="470" y="654"/>
                      </a:lnTo>
                      <a:lnTo>
                        <a:pt x="470" y="654"/>
                      </a:lnTo>
                      <a:lnTo>
                        <a:pt x="474" y="652"/>
                      </a:lnTo>
                      <a:lnTo>
                        <a:pt x="478" y="648"/>
                      </a:lnTo>
                      <a:lnTo>
                        <a:pt x="482" y="648"/>
                      </a:lnTo>
                      <a:lnTo>
                        <a:pt x="482" y="648"/>
                      </a:lnTo>
                      <a:lnTo>
                        <a:pt x="492" y="648"/>
                      </a:lnTo>
                      <a:lnTo>
                        <a:pt x="498" y="650"/>
                      </a:lnTo>
                      <a:lnTo>
                        <a:pt x="498" y="650"/>
                      </a:lnTo>
                      <a:lnTo>
                        <a:pt x="500" y="650"/>
                      </a:lnTo>
                      <a:lnTo>
                        <a:pt x="504" y="652"/>
                      </a:lnTo>
                      <a:lnTo>
                        <a:pt x="510" y="650"/>
                      </a:lnTo>
                      <a:lnTo>
                        <a:pt x="514" y="648"/>
                      </a:lnTo>
                      <a:lnTo>
                        <a:pt x="516" y="644"/>
                      </a:lnTo>
                      <a:lnTo>
                        <a:pt x="516" y="644"/>
                      </a:lnTo>
                      <a:lnTo>
                        <a:pt x="520" y="632"/>
                      </a:lnTo>
                      <a:lnTo>
                        <a:pt x="522" y="620"/>
                      </a:lnTo>
                      <a:lnTo>
                        <a:pt x="522" y="606"/>
                      </a:lnTo>
                      <a:lnTo>
                        <a:pt x="530" y="582"/>
                      </a:lnTo>
                      <a:lnTo>
                        <a:pt x="530" y="572"/>
                      </a:lnTo>
                      <a:lnTo>
                        <a:pt x="544" y="570"/>
                      </a:lnTo>
                      <a:lnTo>
                        <a:pt x="550" y="534"/>
                      </a:lnTo>
                      <a:lnTo>
                        <a:pt x="556" y="474"/>
                      </a:lnTo>
                      <a:lnTo>
                        <a:pt x="558" y="398"/>
                      </a:lnTo>
                      <a:lnTo>
                        <a:pt x="558" y="340"/>
                      </a:lnTo>
                      <a:lnTo>
                        <a:pt x="558" y="340"/>
                      </a:lnTo>
                      <a:lnTo>
                        <a:pt x="560" y="332"/>
                      </a:lnTo>
                      <a:lnTo>
                        <a:pt x="562" y="322"/>
                      </a:lnTo>
                      <a:lnTo>
                        <a:pt x="562" y="308"/>
                      </a:lnTo>
                      <a:lnTo>
                        <a:pt x="562" y="308"/>
                      </a:lnTo>
                      <a:lnTo>
                        <a:pt x="560" y="300"/>
                      </a:lnTo>
                      <a:lnTo>
                        <a:pt x="562" y="296"/>
                      </a:lnTo>
                      <a:lnTo>
                        <a:pt x="564" y="294"/>
                      </a:lnTo>
                      <a:lnTo>
                        <a:pt x="568" y="294"/>
                      </a:lnTo>
                      <a:lnTo>
                        <a:pt x="568" y="306"/>
                      </a:lnTo>
                      <a:lnTo>
                        <a:pt x="570" y="338"/>
                      </a:lnTo>
                      <a:lnTo>
                        <a:pt x="574" y="348"/>
                      </a:lnTo>
                      <a:lnTo>
                        <a:pt x="570" y="362"/>
                      </a:lnTo>
                      <a:lnTo>
                        <a:pt x="574" y="384"/>
                      </a:lnTo>
                      <a:lnTo>
                        <a:pt x="576" y="390"/>
                      </a:lnTo>
                      <a:lnTo>
                        <a:pt x="580" y="422"/>
                      </a:lnTo>
                      <a:lnTo>
                        <a:pt x="586" y="422"/>
                      </a:lnTo>
                      <a:lnTo>
                        <a:pt x="586" y="428"/>
                      </a:lnTo>
                      <a:lnTo>
                        <a:pt x="582" y="432"/>
                      </a:lnTo>
                      <a:lnTo>
                        <a:pt x="586" y="448"/>
                      </a:lnTo>
                      <a:lnTo>
                        <a:pt x="590" y="472"/>
                      </a:lnTo>
                      <a:lnTo>
                        <a:pt x="602" y="490"/>
                      </a:lnTo>
                      <a:lnTo>
                        <a:pt x="620" y="500"/>
                      </a:lnTo>
                      <a:lnTo>
                        <a:pt x="620" y="486"/>
                      </a:lnTo>
                      <a:lnTo>
                        <a:pt x="624" y="498"/>
                      </a:lnTo>
                      <a:lnTo>
                        <a:pt x="636" y="484"/>
                      </a:lnTo>
                      <a:lnTo>
                        <a:pt x="642" y="462"/>
                      </a:lnTo>
                      <a:lnTo>
                        <a:pt x="638" y="438"/>
                      </a:lnTo>
                      <a:lnTo>
                        <a:pt x="636" y="424"/>
                      </a:lnTo>
                      <a:lnTo>
                        <a:pt x="632" y="420"/>
                      </a:lnTo>
                      <a:lnTo>
                        <a:pt x="630" y="416"/>
                      </a:lnTo>
                      <a:lnTo>
                        <a:pt x="636" y="412"/>
                      </a:lnTo>
                      <a:lnTo>
                        <a:pt x="630" y="382"/>
                      </a:lnTo>
                      <a:lnTo>
                        <a:pt x="628" y="376"/>
                      </a:lnTo>
                      <a:lnTo>
                        <a:pt x="626" y="354"/>
                      </a:lnTo>
                      <a:lnTo>
                        <a:pt x="618" y="340"/>
                      </a:lnTo>
                      <a:lnTo>
                        <a:pt x="618" y="330"/>
                      </a:lnTo>
                      <a:lnTo>
                        <a:pt x="610" y="300"/>
                      </a:lnTo>
                      <a:lnTo>
                        <a:pt x="606" y="288"/>
                      </a:lnTo>
                      <a:lnTo>
                        <a:pt x="606" y="288"/>
                      </a:lnTo>
                      <a:lnTo>
                        <a:pt x="610" y="286"/>
                      </a:lnTo>
                      <a:lnTo>
                        <a:pt x="612" y="288"/>
                      </a:lnTo>
                      <a:lnTo>
                        <a:pt x="616" y="292"/>
                      </a:lnTo>
                      <a:lnTo>
                        <a:pt x="618" y="298"/>
                      </a:lnTo>
                      <a:lnTo>
                        <a:pt x="618" y="298"/>
                      </a:lnTo>
                      <a:lnTo>
                        <a:pt x="622" y="312"/>
                      </a:lnTo>
                      <a:lnTo>
                        <a:pt x="626" y="322"/>
                      </a:lnTo>
                      <a:lnTo>
                        <a:pt x="632" y="328"/>
                      </a:lnTo>
                      <a:lnTo>
                        <a:pt x="652" y="384"/>
                      </a:lnTo>
                      <a:lnTo>
                        <a:pt x="678" y="454"/>
                      </a:lnTo>
                      <a:lnTo>
                        <a:pt x="702" y="508"/>
                      </a:lnTo>
                      <a:lnTo>
                        <a:pt x="720" y="540"/>
                      </a:lnTo>
                      <a:lnTo>
                        <a:pt x="732" y="540"/>
                      </a:lnTo>
                      <a:lnTo>
                        <a:pt x="736" y="548"/>
                      </a:lnTo>
                      <a:lnTo>
                        <a:pt x="752" y="568"/>
                      </a:lnTo>
                      <a:lnTo>
                        <a:pt x="752" y="568"/>
                      </a:lnTo>
                      <a:lnTo>
                        <a:pt x="756" y="582"/>
                      </a:lnTo>
                      <a:lnTo>
                        <a:pt x="762" y="592"/>
                      </a:lnTo>
                      <a:lnTo>
                        <a:pt x="768" y="602"/>
                      </a:lnTo>
                      <a:lnTo>
                        <a:pt x="768" y="602"/>
                      </a:lnTo>
                      <a:lnTo>
                        <a:pt x="774" y="604"/>
                      </a:lnTo>
                      <a:lnTo>
                        <a:pt x="776" y="606"/>
                      </a:lnTo>
                      <a:lnTo>
                        <a:pt x="784" y="604"/>
                      </a:lnTo>
                      <a:lnTo>
                        <a:pt x="788" y="602"/>
                      </a:lnTo>
                      <a:lnTo>
                        <a:pt x="790" y="602"/>
                      </a:lnTo>
                      <a:lnTo>
                        <a:pt x="790" y="602"/>
                      </a:lnTo>
                      <a:lnTo>
                        <a:pt x="794" y="598"/>
                      </a:lnTo>
                      <a:lnTo>
                        <a:pt x="804" y="594"/>
                      </a:lnTo>
                      <a:lnTo>
                        <a:pt x="804" y="594"/>
                      </a:lnTo>
                      <a:lnTo>
                        <a:pt x="808" y="594"/>
                      </a:lnTo>
                      <a:lnTo>
                        <a:pt x="812" y="594"/>
                      </a:lnTo>
                      <a:lnTo>
                        <a:pt x="816" y="596"/>
                      </a:lnTo>
                      <a:lnTo>
                        <a:pt x="816" y="596"/>
                      </a:lnTo>
                      <a:lnTo>
                        <a:pt x="820" y="598"/>
                      </a:lnTo>
                      <a:lnTo>
                        <a:pt x="826" y="600"/>
                      </a:lnTo>
                      <a:lnTo>
                        <a:pt x="832" y="600"/>
                      </a:lnTo>
                      <a:lnTo>
                        <a:pt x="832" y="600"/>
                      </a:lnTo>
                      <a:lnTo>
                        <a:pt x="836" y="600"/>
                      </a:lnTo>
                      <a:lnTo>
                        <a:pt x="834" y="598"/>
                      </a:lnTo>
                      <a:lnTo>
                        <a:pt x="832" y="598"/>
                      </a:lnTo>
                      <a:lnTo>
                        <a:pt x="834" y="596"/>
                      </a:lnTo>
                      <a:lnTo>
                        <a:pt x="842" y="590"/>
                      </a:lnTo>
                      <a:lnTo>
                        <a:pt x="842" y="590"/>
                      </a:lnTo>
                      <a:lnTo>
                        <a:pt x="850" y="586"/>
                      </a:lnTo>
                      <a:lnTo>
                        <a:pt x="856" y="582"/>
                      </a:lnTo>
                      <a:lnTo>
                        <a:pt x="866" y="582"/>
                      </a:lnTo>
                      <a:lnTo>
                        <a:pt x="872" y="584"/>
                      </a:lnTo>
                      <a:lnTo>
                        <a:pt x="874" y="586"/>
                      </a:lnTo>
                      <a:lnTo>
                        <a:pt x="874" y="586"/>
                      </a:lnTo>
                      <a:lnTo>
                        <a:pt x="886" y="598"/>
                      </a:lnTo>
                      <a:lnTo>
                        <a:pt x="898" y="616"/>
                      </a:lnTo>
                      <a:lnTo>
                        <a:pt x="916" y="642"/>
                      </a:lnTo>
                      <a:lnTo>
                        <a:pt x="916" y="642"/>
                      </a:lnTo>
                      <a:lnTo>
                        <a:pt x="926" y="656"/>
                      </a:lnTo>
                      <a:lnTo>
                        <a:pt x="934" y="664"/>
                      </a:lnTo>
                      <a:lnTo>
                        <a:pt x="944" y="668"/>
                      </a:lnTo>
                      <a:lnTo>
                        <a:pt x="952" y="670"/>
                      </a:lnTo>
                      <a:lnTo>
                        <a:pt x="958" y="668"/>
                      </a:lnTo>
                      <a:lnTo>
                        <a:pt x="964" y="666"/>
                      </a:lnTo>
                      <a:lnTo>
                        <a:pt x="968" y="660"/>
                      </a:lnTo>
                      <a:lnTo>
                        <a:pt x="972" y="654"/>
                      </a:lnTo>
                      <a:lnTo>
                        <a:pt x="972" y="654"/>
                      </a:lnTo>
                      <a:lnTo>
                        <a:pt x="974" y="648"/>
                      </a:lnTo>
                      <a:lnTo>
                        <a:pt x="974" y="642"/>
                      </a:lnTo>
                      <a:lnTo>
                        <a:pt x="970" y="628"/>
                      </a:lnTo>
                      <a:lnTo>
                        <a:pt x="964" y="616"/>
                      </a:lnTo>
                      <a:lnTo>
                        <a:pt x="962" y="612"/>
                      </a:lnTo>
                      <a:lnTo>
                        <a:pt x="962" y="612"/>
                      </a:lnTo>
                      <a:lnTo>
                        <a:pt x="952" y="600"/>
                      </a:lnTo>
                      <a:lnTo>
                        <a:pt x="944" y="592"/>
                      </a:lnTo>
                      <a:lnTo>
                        <a:pt x="936" y="588"/>
                      </a:lnTo>
                      <a:lnTo>
                        <a:pt x="936" y="588"/>
                      </a:lnTo>
                      <a:lnTo>
                        <a:pt x="928" y="584"/>
                      </a:lnTo>
                      <a:lnTo>
                        <a:pt x="920" y="576"/>
                      </a:lnTo>
                      <a:lnTo>
                        <a:pt x="900" y="550"/>
                      </a:lnTo>
                      <a:lnTo>
                        <a:pt x="900" y="550"/>
                      </a:lnTo>
                      <a:lnTo>
                        <a:pt x="894" y="542"/>
                      </a:lnTo>
                      <a:lnTo>
                        <a:pt x="892" y="536"/>
                      </a:lnTo>
                      <a:lnTo>
                        <a:pt x="890" y="530"/>
                      </a:lnTo>
                      <a:lnTo>
                        <a:pt x="890" y="526"/>
                      </a:lnTo>
                      <a:lnTo>
                        <a:pt x="892" y="520"/>
                      </a:lnTo>
                      <a:lnTo>
                        <a:pt x="894" y="516"/>
                      </a:lnTo>
                      <a:lnTo>
                        <a:pt x="894" y="516"/>
                      </a:lnTo>
                      <a:lnTo>
                        <a:pt x="894" y="514"/>
                      </a:lnTo>
                      <a:lnTo>
                        <a:pt x="898" y="510"/>
                      </a:lnTo>
                      <a:lnTo>
                        <a:pt x="904" y="508"/>
                      </a:lnTo>
                      <a:lnTo>
                        <a:pt x="912" y="506"/>
                      </a:lnTo>
                      <a:lnTo>
                        <a:pt x="912" y="506"/>
                      </a:lnTo>
                      <a:lnTo>
                        <a:pt x="918" y="504"/>
                      </a:lnTo>
                      <a:lnTo>
                        <a:pt x="920" y="500"/>
                      </a:lnTo>
                      <a:lnTo>
                        <a:pt x="924" y="496"/>
                      </a:lnTo>
                      <a:lnTo>
                        <a:pt x="924" y="496"/>
                      </a:lnTo>
                      <a:lnTo>
                        <a:pt x="924" y="490"/>
                      </a:lnTo>
                      <a:lnTo>
                        <a:pt x="924" y="482"/>
                      </a:lnTo>
                      <a:lnTo>
                        <a:pt x="920" y="472"/>
                      </a:lnTo>
                      <a:lnTo>
                        <a:pt x="920" y="472"/>
                      </a:lnTo>
                      <a:lnTo>
                        <a:pt x="920" y="468"/>
                      </a:lnTo>
                      <a:lnTo>
                        <a:pt x="920" y="460"/>
                      </a:lnTo>
                      <a:lnTo>
                        <a:pt x="920" y="456"/>
                      </a:lnTo>
                      <a:lnTo>
                        <a:pt x="924" y="452"/>
                      </a:lnTo>
                      <a:lnTo>
                        <a:pt x="926" y="448"/>
                      </a:lnTo>
                      <a:lnTo>
                        <a:pt x="932" y="446"/>
                      </a:lnTo>
                      <a:lnTo>
                        <a:pt x="932" y="446"/>
                      </a:lnTo>
                      <a:lnTo>
                        <a:pt x="938" y="446"/>
                      </a:lnTo>
                      <a:lnTo>
                        <a:pt x="942" y="442"/>
                      </a:lnTo>
                      <a:lnTo>
                        <a:pt x="950" y="436"/>
                      </a:lnTo>
                      <a:lnTo>
                        <a:pt x="952" y="432"/>
                      </a:lnTo>
                      <a:lnTo>
                        <a:pt x="952" y="428"/>
                      </a:lnTo>
                      <a:lnTo>
                        <a:pt x="952" y="412"/>
                      </a:lnTo>
                      <a:lnTo>
                        <a:pt x="952" y="412"/>
                      </a:lnTo>
                      <a:lnTo>
                        <a:pt x="948" y="402"/>
                      </a:lnTo>
                      <a:lnTo>
                        <a:pt x="950" y="394"/>
                      </a:lnTo>
                      <a:lnTo>
                        <a:pt x="952" y="392"/>
                      </a:lnTo>
                      <a:lnTo>
                        <a:pt x="956" y="388"/>
                      </a:lnTo>
                      <a:lnTo>
                        <a:pt x="956" y="388"/>
                      </a:lnTo>
                      <a:lnTo>
                        <a:pt x="958" y="386"/>
                      </a:lnTo>
                      <a:lnTo>
                        <a:pt x="962" y="382"/>
                      </a:lnTo>
                      <a:lnTo>
                        <a:pt x="964" y="374"/>
                      </a:lnTo>
                      <a:lnTo>
                        <a:pt x="962" y="366"/>
                      </a:lnTo>
                      <a:lnTo>
                        <a:pt x="954" y="344"/>
                      </a:lnTo>
                      <a:lnTo>
                        <a:pt x="944" y="332"/>
                      </a:lnTo>
                      <a:lnTo>
                        <a:pt x="934" y="318"/>
                      </a:lnTo>
                      <a:lnTo>
                        <a:pt x="930" y="310"/>
                      </a:lnTo>
                      <a:lnTo>
                        <a:pt x="930" y="302"/>
                      </a:lnTo>
                      <a:lnTo>
                        <a:pt x="884" y="252"/>
                      </a:lnTo>
                      <a:lnTo>
                        <a:pt x="884" y="252"/>
                      </a:lnTo>
                      <a:lnTo>
                        <a:pt x="884" y="250"/>
                      </a:lnTo>
                      <a:lnTo>
                        <a:pt x="882" y="248"/>
                      </a:lnTo>
                      <a:lnTo>
                        <a:pt x="876" y="244"/>
                      </a:lnTo>
                      <a:lnTo>
                        <a:pt x="866" y="238"/>
                      </a:lnTo>
                      <a:lnTo>
                        <a:pt x="850" y="228"/>
                      </a:lnTo>
                      <a:lnTo>
                        <a:pt x="792" y="204"/>
                      </a:lnTo>
                      <a:lnTo>
                        <a:pt x="800" y="202"/>
                      </a:lnTo>
                      <a:lnTo>
                        <a:pt x="834" y="194"/>
                      </a:lnTo>
                      <a:lnTo>
                        <a:pt x="860" y="190"/>
                      </a:lnTo>
                      <a:lnTo>
                        <a:pt x="888" y="186"/>
                      </a:lnTo>
                      <a:lnTo>
                        <a:pt x="914" y="178"/>
                      </a:lnTo>
                      <a:lnTo>
                        <a:pt x="914" y="178"/>
                      </a:lnTo>
                      <a:lnTo>
                        <a:pt x="924" y="172"/>
                      </a:lnTo>
                      <a:lnTo>
                        <a:pt x="932" y="166"/>
                      </a:lnTo>
                      <a:lnTo>
                        <a:pt x="936" y="160"/>
                      </a:lnTo>
                      <a:lnTo>
                        <a:pt x="936" y="160"/>
                      </a:lnTo>
                      <a:lnTo>
                        <a:pt x="942" y="148"/>
                      </a:lnTo>
                      <a:lnTo>
                        <a:pt x="952" y="130"/>
                      </a:lnTo>
                      <a:lnTo>
                        <a:pt x="952" y="130"/>
                      </a:lnTo>
                      <a:lnTo>
                        <a:pt x="958" y="118"/>
                      </a:lnTo>
                      <a:lnTo>
                        <a:pt x="960" y="110"/>
                      </a:lnTo>
                      <a:lnTo>
                        <a:pt x="962" y="104"/>
                      </a:lnTo>
                      <a:lnTo>
                        <a:pt x="962" y="104"/>
                      </a:lnTo>
                      <a:lnTo>
                        <a:pt x="962" y="94"/>
                      </a:lnTo>
                      <a:lnTo>
                        <a:pt x="964" y="88"/>
                      </a:lnTo>
                      <a:lnTo>
                        <a:pt x="966" y="84"/>
                      </a:lnTo>
                      <a:lnTo>
                        <a:pt x="966" y="84"/>
                      </a:lnTo>
                      <a:lnTo>
                        <a:pt x="970" y="78"/>
                      </a:lnTo>
                      <a:lnTo>
                        <a:pt x="974" y="68"/>
                      </a:lnTo>
                      <a:lnTo>
                        <a:pt x="974" y="58"/>
                      </a:lnTo>
                      <a:lnTo>
                        <a:pt x="974" y="54"/>
                      </a:lnTo>
                      <a:lnTo>
                        <a:pt x="972" y="50"/>
                      </a:lnTo>
                      <a:lnTo>
                        <a:pt x="972" y="50"/>
                      </a:lnTo>
                      <a:lnTo>
                        <a:pt x="970" y="48"/>
                      </a:lnTo>
                      <a:lnTo>
                        <a:pt x="970" y="44"/>
                      </a:lnTo>
                      <a:lnTo>
                        <a:pt x="970" y="38"/>
                      </a:lnTo>
                      <a:lnTo>
                        <a:pt x="974" y="30"/>
                      </a:lnTo>
                      <a:lnTo>
                        <a:pt x="974" y="30"/>
                      </a:lnTo>
                      <a:lnTo>
                        <a:pt x="978" y="24"/>
                      </a:lnTo>
                      <a:lnTo>
                        <a:pt x="980" y="20"/>
                      </a:lnTo>
                      <a:lnTo>
                        <a:pt x="982" y="18"/>
                      </a:lnTo>
                      <a:lnTo>
                        <a:pt x="980" y="16"/>
                      </a:lnTo>
                      <a:lnTo>
                        <a:pt x="980" y="16"/>
                      </a:lnTo>
                      <a:lnTo>
                        <a:pt x="978" y="14"/>
                      </a:lnTo>
                      <a:lnTo>
                        <a:pt x="978" y="10"/>
                      </a:lnTo>
                      <a:lnTo>
                        <a:pt x="976" y="0"/>
                      </a:lnTo>
                      <a:lnTo>
                        <a:pt x="676" y="0"/>
                      </a:lnTo>
                      <a:close/>
                      <a:moveTo>
                        <a:pt x="562" y="150"/>
                      </a:moveTo>
                      <a:lnTo>
                        <a:pt x="562" y="150"/>
                      </a:lnTo>
                      <a:lnTo>
                        <a:pt x="562" y="150"/>
                      </a:lnTo>
                      <a:lnTo>
                        <a:pt x="562" y="150"/>
                      </a:lnTo>
                      <a:lnTo>
                        <a:pt x="562" y="150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72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6" name="Group 63"/>
              <p:cNvGrpSpPr>
                <a:grpSpLocks noChangeAspect="1"/>
              </p:cNvGrpSpPr>
              <p:nvPr/>
            </p:nvGrpSpPr>
            <p:grpSpPr>
              <a:xfrm>
                <a:off x="8324137" y="990588"/>
                <a:ext cx="819855" cy="1066798"/>
                <a:chOff x="7315200" y="5334000"/>
                <a:chExt cx="1054100" cy="1371600"/>
              </a:xfrm>
              <a:solidFill>
                <a:schemeClr val="bg2">
                  <a:lumMod val="50000"/>
                  <a:lumOff val="50000"/>
                  <a:alpha val="18000"/>
                </a:schemeClr>
              </a:solidFill>
            </p:grpSpPr>
            <p:sp>
              <p:nvSpPr>
                <p:cNvPr id="147" name="Freeform 70"/>
                <p:cNvSpPr>
                  <a:spLocks/>
                </p:cNvSpPr>
                <p:nvPr/>
              </p:nvSpPr>
              <p:spPr bwMode="auto">
                <a:xfrm>
                  <a:off x="7810500" y="5715000"/>
                  <a:ext cx="241300" cy="158750"/>
                </a:xfrm>
                <a:custGeom>
                  <a:avLst/>
                  <a:gdLst>
                    <a:gd name="T0" fmla="*/ 152 w 152"/>
                    <a:gd name="T1" fmla="*/ 100 h 100"/>
                    <a:gd name="T2" fmla="*/ 152 w 152"/>
                    <a:gd name="T3" fmla="*/ 100 h 100"/>
                    <a:gd name="T4" fmla="*/ 152 w 152"/>
                    <a:gd name="T5" fmla="*/ 100 h 100"/>
                    <a:gd name="T6" fmla="*/ 152 w 152"/>
                    <a:gd name="T7" fmla="*/ 100 h 100"/>
                    <a:gd name="T8" fmla="*/ 138 w 152"/>
                    <a:gd name="T9" fmla="*/ 90 h 100"/>
                    <a:gd name="T10" fmla="*/ 34 w 152"/>
                    <a:gd name="T11" fmla="*/ 18 h 100"/>
                    <a:gd name="T12" fmla="*/ 34 w 152"/>
                    <a:gd name="T13" fmla="*/ 18 h 100"/>
                    <a:gd name="T14" fmla="*/ 16 w 152"/>
                    <a:gd name="T15" fmla="*/ 6 h 100"/>
                    <a:gd name="T16" fmla="*/ 16 w 152"/>
                    <a:gd name="T17" fmla="*/ 6 h 100"/>
                    <a:gd name="T18" fmla="*/ 10 w 152"/>
                    <a:gd name="T19" fmla="*/ 2 h 100"/>
                    <a:gd name="T20" fmla="*/ 4 w 152"/>
                    <a:gd name="T21" fmla="*/ 0 h 100"/>
                    <a:gd name="T22" fmla="*/ 4 w 152"/>
                    <a:gd name="T23" fmla="*/ 0 h 100"/>
                    <a:gd name="T24" fmla="*/ 0 w 152"/>
                    <a:gd name="T25" fmla="*/ 0 h 100"/>
                    <a:gd name="T26" fmla="*/ 0 w 152"/>
                    <a:gd name="T27" fmla="*/ 2 h 100"/>
                    <a:gd name="T28" fmla="*/ 0 w 152"/>
                    <a:gd name="T29" fmla="*/ 2 h 100"/>
                    <a:gd name="T30" fmla="*/ 4 w 152"/>
                    <a:gd name="T31" fmla="*/ 6 h 100"/>
                    <a:gd name="T32" fmla="*/ 8 w 152"/>
                    <a:gd name="T33" fmla="*/ 8 h 100"/>
                    <a:gd name="T34" fmla="*/ 8 w 152"/>
                    <a:gd name="T35" fmla="*/ 8 h 100"/>
                    <a:gd name="T36" fmla="*/ 24 w 152"/>
                    <a:gd name="T37" fmla="*/ 18 h 100"/>
                    <a:gd name="T38" fmla="*/ 138 w 152"/>
                    <a:gd name="T39" fmla="*/ 92 h 100"/>
                    <a:gd name="T40" fmla="*/ 138 w 152"/>
                    <a:gd name="T41" fmla="*/ 92 h 100"/>
                    <a:gd name="T42" fmla="*/ 152 w 152"/>
                    <a:gd name="T43" fmla="*/ 100 h 100"/>
                    <a:gd name="T44" fmla="*/ 152 w 152"/>
                    <a:gd name="T45" fmla="*/ 100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52" h="100">
                      <a:moveTo>
                        <a:pt x="152" y="100"/>
                      </a:moveTo>
                      <a:lnTo>
                        <a:pt x="152" y="100"/>
                      </a:lnTo>
                      <a:lnTo>
                        <a:pt x="152" y="100"/>
                      </a:lnTo>
                      <a:lnTo>
                        <a:pt x="152" y="100"/>
                      </a:lnTo>
                      <a:lnTo>
                        <a:pt x="138" y="90"/>
                      </a:lnTo>
                      <a:lnTo>
                        <a:pt x="34" y="18"/>
                      </a:lnTo>
                      <a:lnTo>
                        <a:pt x="34" y="18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0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4" y="6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24" y="18"/>
                      </a:lnTo>
                      <a:lnTo>
                        <a:pt x="138" y="92"/>
                      </a:lnTo>
                      <a:lnTo>
                        <a:pt x="138" y="92"/>
                      </a:lnTo>
                      <a:lnTo>
                        <a:pt x="152" y="100"/>
                      </a:lnTo>
                      <a:lnTo>
                        <a:pt x="152" y="10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8" name="Freeform 71"/>
                <p:cNvSpPr>
                  <a:spLocks/>
                </p:cNvSpPr>
                <p:nvPr/>
              </p:nvSpPr>
              <p:spPr bwMode="auto">
                <a:xfrm>
                  <a:off x="8054975" y="5880100"/>
                  <a:ext cx="0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9" name="Freeform 72"/>
                <p:cNvSpPr>
                  <a:spLocks/>
                </p:cNvSpPr>
                <p:nvPr/>
              </p:nvSpPr>
              <p:spPr bwMode="auto">
                <a:xfrm>
                  <a:off x="8064500" y="5584825"/>
                  <a:ext cx="53975" cy="285750"/>
                </a:xfrm>
                <a:custGeom>
                  <a:avLst/>
                  <a:gdLst>
                    <a:gd name="T0" fmla="*/ 0 w 34"/>
                    <a:gd name="T1" fmla="*/ 178 h 180"/>
                    <a:gd name="T2" fmla="*/ 0 w 34"/>
                    <a:gd name="T3" fmla="*/ 178 h 180"/>
                    <a:gd name="T4" fmla="*/ 4 w 34"/>
                    <a:gd name="T5" fmla="*/ 162 h 180"/>
                    <a:gd name="T6" fmla="*/ 28 w 34"/>
                    <a:gd name="T7" fmla="*/ 30 h 180"/>
                    <a:gd name="T8" fmla="*/ 28 w 34"/>
                    <a:gd name="T9" fmla="*/ 30 h 180"/>
                    <a:gd name="T10" fmla="*/ 34 w 34"/>
                    <a:gd name="T11" fmla="*/ 10 h 180"/>
                    <a:gd name="T12" fmla="*/ 34 w 34"/>
                    <a:gd name="T13" fmla="*/ 10 h 180"/>
                    <a:gd name="T14" fmla="*/ 34 w 34"/>
                    <a:gd name="T15" fmla="*/ 6 h 180"/>
                    <a:gd name="T16" fmla="*/ 34 w 34"/>
                    <a:gd name="T17" fmla="*/ 2 h 180"/>
                    <a:gd name="T18" fmla="*/ 34 w 34"/>
                    <a:gd name="T19" fmla="*/ 2 h 180"/>
                    <a:gd name="T20" fmla="*/ 32 w 34"/>
                    <a:gd name="T21" fmla="*/ 0 h 180"/>
                    <a:gd name="T22" fmla="*/ 30 w 34"/>
                    <a:gd name="T23" fmla="*/ 2 h 180"/>
                    <a:gd name="T24" fmla="*/ 30 w 34"/>
                    <a:gd name="T25" fmla="*/ 2 h 180"/>
                    <a:gd name="T26" fmla="*/ 28 w 34"/>
                    <a:gd name="T27" fmla="*/ 8 h 180"/>
                    <a:gd name="T28" fmla="*/ 26 w 34"/>
                    <a:gd name="T29" fmla="*/ 14 h 180"/>
                    <a:gd name="T30" fmla="*/ 26 w 34"/>
                    <a:gd name="T31" fmla="*/ 14 h 180"/>
                    <a:gd name="T32" fmla="*/ 22 w 34"/>
                    <a:gd name="T33" fmla="*/ 38 h 180"/>
                    <a:gd name="T34" fmla="*/ 2 w 34"/>
                    <a:gd name="T35" fmla="*/ 162 h 180"/>
                    <a:gd name="T36" fmla="*/ 2 w 34"/>
                    <a:gd name="T37" fmla="*/ 162 h 180"/>
                    <a:gd name="T38" fmla="*/ 0 w 34"/>
                    <a:gd name="T39" fmla="*/ 178 h 180"/>
                    <a:gd name="T40" fmla="*/ 0 w 34"/>
                    <a:gd name="T41" fmla="*/ 178 h 180"/>
                    <a:gd name="T42" fmla="*/ 0 w 34"/>
                    <a:gd name="T43" fmla="*/ 180 h 180"/>
                    <a:gd name="T44" fmla="*/ 0 w 34"/>
                    <a:gd name="T45" fmla="*/ 180 h 180"/>
                    <a:gd name="T46" fmla="*/ 0 w 34"/>
                    <a:gd name="T47" fmla="*/ 178 h 180"/>
                    <a:gd name="T48" fmla="*/ 0 w 34"/>
                    <a:gd name="T49" fmla="*/ 178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4" h="180">
                      <a:moveTo>
                        <a:pt x="0" y="178"/>
                      </a:moveTo>
                      <a:lnTo>
                        <a:pt x="0" y="178"/>
                      </a:lnTo>
                      <a:lnTo>
                        <a:pt x="4" y="162"/>
                      </a:lnTo>
                      <a:lnTo>
                        <a:pt x="28" y="30"/>
                      </a:lnTo>
                      <a:lnTo>
                        <a:pt x="28" y="30"/>
                      </a:lnTo>
                      <a:lnTo>
                        <a:pt x="34" y="10"/>
                      </a:lnTo>
                      <a:lnTo>
                        <a:pt x="34" y="10"/>
                      </a:lnTo>
                      <a:lnTo>
                        <a:pt x="34" y="6"/>
                      </a:lnTo>
                      <a:lnTo>
                        <a:pt x="34" y="2"/>
                      </a:lnTo>
                      <a:lnTo>
                        <a:pt x="34" y="2"/>
                      </a:lnTo>
                      <a:lnTo>
                        <a:pt x="32" y="0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28" y="8"/>
                      </a:lnTo>
                      <a:lnTo>
                        <a:pt x="26" y="14"/>
                      </a:lnTo>
                      <a:lnTo>
                        <a:pt x="26" y="14"/>
                      </a:lnTo>
                      <a:lnTo>
                        <a:pt x="22" y="38"/>
                      </a:lnTo>
                      <a:lnTo>
                        <a:pt x="2" y="162"/>
                      </a:lnTo>
                      <a:lnTo>
                        <a:pt x="2" y="162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0" y="180"/>
                      </a:lnTo>
                      <a:lnTo>
                        <a:pt x="0" y="180"/>
                      </a:lnTo>
                      <a:lnTo>
                        <a:pt x="0" y="178"/>
                      </a:lnTo>
                      <a:lnTo>
                        <a:pt x="0" y="17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0" name="Freeform 73"/>
                <p:cNvSpPr>
                  <a:spLocks noEditPoints="1"/>
                </p:cNvSpPr>
                <p:nvPr/>
              </p:nvSpPr>
              <p:spPr bwMode="auto">
                <a:xfrm>
                  <a:off x="7315200" y="5334000"/>
                  <a:ext cx="1054100" cy="1371600"/>
                </a:xfrm>
                <a:custGeom>
                  <a:avLst/>
                  <a:gdLst>
                    <a:gd name="T0" fmla="*/ 582 w 664"/>
                    <a:gd name="T1" fmla="*/ 488 h 864"/>
                    <a:gd name="T2" fmla="*/ 664 w 664"/>
                    <a:gd name="T3" fmla="*/ 356 h 864"/>
                    <a:gd name="T4" fmla="*/ 664 w 664"/>
                    <a:gd name="T5" fmla="*/ 0 h 864"/>
                    <a:gd name="T6" fmla="*/ 608 w 664"/>
                    <a:gd name="T7" fmla="*/ 50 h 864"/>
                    <a:gd name="T8" fmla="*/ 548 w 664"/>
                    <a:gd name="T9" fmla="*/ 146 h 864"/>
                    <a:gd name="T10" fmla="*/ 508 w 664"/>
                    <a:gd name="T11" fmla="*/ 294 h 864"/>
                    <a:gd name="T12" fmla="*/ 498 w 664"/>
                    <a:gd name="T13" fmla="*/ 358 h 864"/>
                    <a:gd name="T14" fmla="*/ 490 w 664"/>
                    <a:gd name="T15" fmla="*/ 342 h 864"/>
                    <a:gd name="T16" fmla="*/ 476 w 664"/>
                    <a:gd name="T17" fmla="*/ 338 h 864"/>
                    <a:gd name="T18" fmla="*/ 472 w 664"/>
                    <a:gd name="T19" fmla="*/ 338 h 864"/>
                    <a:gd name="T20" fmla="*/ 464 w 664"/>
                    <a:gd name="T21" fmla="*/ 338 h 864"/>
                    <a:gd name="T22" fmla="*/ 464 w 664"/>
                    <a:gd name="T23" fmla="*/ 344 h 864"/>
                    <a:gd name="T24" fmla="*/ 454 w 664"/>
                    <a:gd name="T25" fmla="*/ 350 h 864"/>
                    <a:gd name="T26" fmla="*/ 458 w 664"/>
                    <a:gd name="T27" fmla="*/ 362 h 864"/>
                    <a:gd name="T28" fmla="*/ 456 w 664"/>
                    <a:gd name="T29" fmla="*/ 376 h 864"/>
                    <a:gd name="T30" fmla="*/ 336 w 664"/>
                    <a:gd name="T31" fmla="*/ 294 h 864"/>
                    <a:gd name="T32" fmla="*/ 204 w 664"/>
                    <a:gd name="T33" fmla="*/ 246 h 864"/>
                    <a:gd name="T34" fmla="*/ 116 w 664"/>
                    <a:gd name="T35" fmla="*/ 242 h 864"/>
                    <a:gd name="T36" fmla="*/ 8 w 664"/>
                    <a:gd name="T37" fmla="*/ 282 h 864"/>
                    <a:gd name="T38" fmla="*/ 28 w 664"/>
                    <a:gd name="T39" fmla="*/ 358 h 864"/>
                    <a:gd name="T40" fmla="*/ 46 w 664"/>
                    <a:gd name="T41" fmla="*/ 368 h 864"/>
                    <a:gd name="T42" fmla="*/ 64 w 664"/>
                    <a:gd name="T43" fmla="*/ 380 h 864"/>
                    <a:gd name="T44" fmla="*/ 92 w 664"/>
                    <a:gd name="T45" fmla="*/ 390 h 864"/>
                    <a:gd name="T46" fmla="*/ 112 w 664"/>
                    <a:gd name="T47" fmla="*/ 406 h 864"/>
                    <a:gd name="T48" fmla="*/ 130 w 664"/>
                    <a:gd name="T49" fmla="*/ 430 h 864"/>
                    <a:gd name="T50" fmla="*/ 142 w 664"/>
                    <a:gd name="T51" fmla="*/ 438 h 864"/>
                    <a:gd name="T52" fmla="*/ 152 w 664"/>
                    <a:gd name="T53" fmla="*/ 456 h 864"/>
                    <a:gd name="T54" fmla="*/ 170 w 664"/>
                    <a:gd name="T55" fmla="*/ 474 h 864"/>
                    <a:gd name="T56" fmla="*/ 186 w 664"/>
                    <a:gd name="T57" fmla="*/ 490 h 864"/>
                    <a:gd name="T58" fmla="*/ 224 w 664"/>
                    <a:gd name="T59" fmla="*/ 516 h 864"/>
                    <a:gd name="T60" fmla="*/ 268 w 664"/>
                    <a:gd name="T61" fmla="*/ 512 h 864"/>
                    <a:gd name="T62" fmla="*/ 350 w 664"/>
                    <a:gd name="T63" fmla="*/ 482 h 864"/>
                    <a:gd name="T64" fmla="*/ 302 w 664"/>
                    <a:gd name="T65" fmla="*/ 566 h 864"/>
                    <a:gd name="T66" fmla="*/ 302 w 664"/>
                    <a:gd name="T67" fmla="*/ 586 h 864"/>
                    <a:gd name="T68" fmla="*/ 344 w 664"/>
                    <a:gd name="T69" fmla="*/ 630 h 864"/>
                    <a:gd name="T70" fmla="*/ 384 w 664"/>
                    <a:gd name="T71" fmla="*/ 646 h 864"/>
                    <a:gd name="T72" fmla="*/ 404 w 664"/>
                    <a:gd name="T73" fmla="*/ 662 h 864"/>
                    <a:gd name="T74" fmla="*/ 434 w 664"/>
                    <a:gd name="T75" fmla="*/ 676 h 864"/>
                    <a:gd name="T76" fmla="*/ 460 w 664"/>
                    <a:gd name="T77" fmla="*/ 704 h 864"/>
                    <a:gd name="T78" fmla="*/ 472 w 664"/>
                    <a:gd name="T79" fmla="*/ 740 h 864"/>
                    <a:gd name="T80" fmla="*/ 460 w 664"/>
                    <a:gd name="T81" fmla="*/ 788 h 864"/>
                    <a:gd name="T82" fmla="*/ 452 w 664"/>
                    <a:gd name="T83" fmla="*/ 824 h 864"/>
                    <a:gd name="T84" fmla="*/ 466 w 664"/>
                    <a:gd name="T85" fmla="*/ 864 h 864"/>
                    <a:gd name="T86" fmla="*/ 476 w 664"/>
                    <a:gd name="T87" fmla="*/ 860 h 864"/>
                    <a:gd name="T88" fmla="*/ 492 w 664"/>
                    <a:gd name="T89" fmla="*/ 792 h 864"/>
                    <a:gd name="T90" fmla="*/ 506 w 664"/>
                    <a:gd name="T91" fmla="*/ 770 h 864"/>
                    <a:gd name="T92" fmla="*/ 520 w 664"/>
                    <a:gd name="T93" fmla="*/ 726 h 864"/>
                    <a:gd name="T94" fmla="*/ 504 w 664"/>
                    <a:gd name="T95" fmla="*/ 578 h 864"/>
                    <a:gd name="T96" fmla="*/ 494 w 664"/>
                    <a:gd name="T97" fmla="*/ 502 h 864"/>
                    <a:gd name="T98" fmla="*/ 518 w 664"/>
                    <a:gd name="T99" fmla="*/ 508 h 864"/>
                    <a:gd name="T100" fmla="*/ 542 w 664"/>
                    <a:gd name="T101" fmla="*/ 568 h 864"/>
                    <a:gd name="T102" fmla="*/ 570 w 664"/>
                    <a:gd name="T103" fmla="*/ 620 h 864"/>
                    <a:gd name="T104" fmla="*/ 598 w 664"/>
                    <a:gd name="T105" fmla="*/ 590 h 864"/>
                    <a:gd name="T106" fmla="*/ 582 w 664"/>
                    <a:gd name="T107" fmla="*/ 548 h 864"/>
                    <a:gd name="T108" fmla="*/ 550 w 664"/>
                    <a:gd name="T109" fmla="*/ 484 h 864"/>
                    <a:gd name="T110" fmla="*/ 566 w 664"/>
                    <a:gd name="T111" fmla="*/ 472 h 864"/>
                    <a:gd name="T112" fmla="*/ 466 w 664"/>
                    <a:gd name="T113" fmla="*/ 344 h 8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64" h="864">
                      <a:moveTo>
                        <a:pt x="566" y="472"/>
                      </a:moveTo>
                      <a:lnTo>
                        <a:pt x="566" y="472"/>
                      </a:lnTo>
                      <a:lnTo>
                        <a:pt x="568" y="472"/>
                      </a:lnTo>
                      <a:lnTo>
                        <a:pt x="572" y="476"/>
                      </a:lnTo>
                      <a:lnTo>
                        <a:pt x="582" y="488"/>
                      </a:lnTo>
                      <a:lnTo>
                        <a:pt x="612" y="532"/>
                      </a:lnTo>
                      <a:lnTo>
                        <a:pt x="660" y="604"/>
                      </a:lnTo>
                      <a:lnTo>
                        <a:pt x="660" y="604"/>
                      </a:lnTo>
                      <a:lnTo>
                        <a:pt x="664" y="608"/>
                      </a:lnTo>
                      <a:lnTo>
                        <a:pt x="664" y="356"/>
                      </a:lnTo>
                      <a:lnTo>
                        <a:pt x="664" y="356"/>
                      </a:lnTo>
                      <a:lnTo>
                        <a:pt x="650" y="354"/>
                      </a:lnTo>
                      <a:lnTo>
                        <a:pt x="650" y="354"/>
                      </a:lnTo>
                      <a:lnTo>
                        <a:pt x="664" y="346"/>
                      </a:lnTo>
                      <a:lnTo>
                        <a:pt x="664" y="0"/>
                      </a:lnTo>
                      <a:lnTo>
                        <a:pt x="664" y="0"/>
                      </a:lnTo>
                      <a:lnTo>
                        <a:pt x="638" y="20"/>
                      </a:lnTo>
                      <a:lnTo>
                        <a:pt x="624" y="34"/>
                      </a:lnTo>
                      <a:lnTo>
                        <a:pt x="608" y="50"/>
                      </a:lnTo>
                      <a:lnTo>
                        <a:pt x="608" y="50"/>
                      </a:lnTo>
                      <a:lnTo>
                        <a:pt x="594" y="68"/>
                      </a:lnTo>
                      <a:lnTo>
                        <a:pt x="580" y="86"/>
                      </a:lnTo>
                      <a:lnTo>
                        <a:pt x="568" y="104"/>
                      </a:lnTo>
                      <a:lnTo>
                        <a:pt x="558" y="124"/>
                      </a:lnTo>
                      <a:lnTo>
                        <a:pt x="548" y="146"/>
                      </a:lnTo>
                      <a:lnTo>
                        <a:pt x="540" y="166"/>
                      </a:lnTo>
                      <a:lnTo>
                        <a:pt x="524" y="214"/>
                      </a:lnTo>
                      <a:lnTo>
                        <a:pt x="524" y="214"/>
                      </a:lnTo>
                      <a:lnTo>
                        <a:pt x="514" y="254"/>
                      </a:lnTo>
                      <a:lnTo>
                        <a:pt x="508" y="294"/>
                      </a:lnTo>
                      <a:lnTo>
                        <a:pt x="504" y="330"/>
                      </a:lnTo>
                      <a:lnTo>
                        <a:pt x="502" y="356"/>
                      </a:lnTo>
                      <a:lnTo>
                        <a:pt x="502" y="356"/>
                      </a:lnTo>
                      <a:lnTo>
                        <a:pt x="498" y="358"/>
                      </a:lnTo>
                      <a:lnTo>
                        <a:pt x="498" y="358"/>
                      </a:lnTo>
                      <a:lnTo>
                        <a:pt x="490" y="350"/>
                      </a:lnTo>
                      <a:lnTo>
                        <a:pt x="490" y="350"/>
                      </a:lnTo>
                      <a:lnTo>
                        <a:pt x="490" y="346"/>
                      </a:lnTo>
                      <a:lnTo>
                        <a:pt x="490" y="342"/>
                      </a:lnTo>
                      <a:lnTo>
                        <a:pt x="490" y="342"/>
                      </a:lnTo>
                      <a:lnTo>
                        <a:pt x="488" y="340"/>
                      </a:lnTo>
                      <a:lnTo>
                        <a:pt x="484" y="338"/>
                      </a:lnTo>
                      <a:lnTo>
                        <a:pt x="480" y="336"/>
                      </a:lnTo>
                      <a:lnTo>
                        <a:pt x="476" y="338"/>
                      </a:lnTo>
                      <a:lnTo>
                        <a:pt x="476" y="338"/>
                      </a:lnTo>
                      <a:lnTo>
                        <a:pt x="476" y="338"/>
                      </a:lnTo>
                      <a:lnTo>
                        <a:pt x="476" y="336"/>
                      </a:lnTo>
                      <a:lnTo>
                        <a:pt x="474" y="336"/>
                      </a:lnTo>
                      <a:lnTo>
                        <a:pt x="472" y="338"/>
                      </a:lnTo>
                      <a:lnTo>
                        <a:pt x="472" y="338"/>
                      </a:lnTo>
                      <a:lnTo>
                        <a:pt x="468" y="336"/>
                      </a:lnTo>
                      <a:lnTo>
                        <a:pt x="468" y="336"/>
                      </a:lnTo>
                      <a:lnTo>
                        <a:pt x="468" y="336"/>
                      </a:lnTo>
                      <a:lnTo>
                        <a:pt x="466" y="338"/>
                      </a:lnTo>
                      <a:lnTo>
                        <a:pt x="464" y="338"/>
                      </a:lnTo>
                      <a:lnTo>
                        <a:pt x="464" y="340"/>
                      </a:lnTo>
                      <a:lnTo>
                        <a:pt x="462" y="340"/>
                      </a:lnTo>
                      <a:lnTo>
                        <a:pt x="462" y="342"/>
                      </a:lnTo>
                      <a:lnTo>
                        <a:pt x="464" y="344"/>
                      </a:lnTo>
                      <a:lnTo>
                        <a:pt x="464" y="344"/>
                      </a:lnTo>
                      <a:lnTo>
                        <a:pt x="464" y="344"/>
                      </a:lnTo>
                      <a:lnTo>
                        <a:pt x="460" y="344"/>
                      </a:lnTo>
                      <a:lnTo>
                        <a:pt x="460" y="344"/>
                      </a:lnTo>
                      <a:lnTo>
                        <a:pt x="456" y="346"/>
                      </a:lnTo>
                      <a:lnTo>
                        <a:pt x="454" y="350"/>
                      </a:lnTo>
                      <a:lnTo>
                        <a:pt x="454" y="354"/>
                      </a:lnTo>
                      <a:lnTo>
                        <a:pt x="456" y="358"/>
                      </a:lnTo>
                      <a:lnTo>
                        <a:pt x="456" y="358"/>
                      </a:lnTo>
                      <a:lnTo>
                        <a:pt x="458" y="362"/>
                      </a:lnTo>
                      <a:lnTo>
                        <a:pt x="458" y="362"/>
                      </a:lnTo>
                      <a:lnTo>
                        <a:pt x="458" y="370"/>
                      </a:lnTo>
                      <a:lnTo>
                        <a:pt x="458" y="374"/>
                      </a:lnTo>
                      <a:lnTo>
                        <a:pt x="458" y="374"/>
                      </a:lnTo>
                      <a:lnTo>
                        <a:pt x="456" y="376"/>
                      </a:lnTo>
                      <a:lnTo>
                        <a:pt x="456" y="376"/>
                      </a:lnTo>
                      <a:lnTo>
                        <a:pt x="434" y="360"/>
                      </a:lnTo>
                      <a:lnTo>
                        <a:pt x="406" y="338"/>
                      </a:lnTo>
                      <a:lnTo>
                        <a:pt x="372" y="314"/>
                      </a:lnTo>
                      <a:lnTo>
                        <a:pt x="336" y="294"/>
                      </a:lnTo>
                      <a:lnTo>
                        <a:pt x="336" y="294"/>
                      </a:lnTo>
                      <a:lnTo>
                        <a:pt x="292" y="272"/>
                      </a:lnTo>
                      <a:lnTo>
                        <a:pt x="270" y="264"/>
                      </a:lnTo>
                      <a:lnTo>
                        <a:pt x="248" y="256"/>
                      </a:lnTo>
                      <a:lnTo>
                        <a:pt x="226" y="250"/>
                      </a:lnTo>
                      <a:lnTo>
                        <a:pt x="204" y="246"/>
                      </a:lnTo>
                      <a:lnTo>
                        <a:pt x="182" y="244"/>
                      </a:lnTo>
                      <a:lnTo>
                        <a:pt x="160" y="242"/>
                      </a:lnTo>
                      <a:lnTo>
                        <a:pt x="160" y="242"/>
                      </a:lnTo>
                      <a:lnTo>
                        <a:pt x="138" y="242"/>
                      </a:lnTo>
                      <a:lnTo>
                        <a:pt x="116" y="242"/>
                      </a:lnTo>
                      <a:lnTo>
                        <a:pt x="84" y="248"/>
                      </a:lnTo>
                      <a:lnTo>
                        <a:pt x="62" y="252"/>
                      </a:lnTo>
                      <a:lnTo>
                        <a:pt x="56" y="256"/>
                      </a:lnTo>
                      <a:lnTo>
                        <a:pt x="30" y="266"/>
                      </a:lnTo>
                      <a:lnTo>
                        <a:pt x="8" y="282"/>
                      </a:lnTo>
                      <a:lnTo>
                        <a:pt x="0" y="296"/>
                      </a:lnTo>
                      <a:lnTo>
                        <a:pt x="0" y="324"/>
                      </a:lnTo>
                      <a:lnTo>
                        <a:pt x="2" y="330"/>
                      </a:lnTo>
                      <a:lnTo>
                        <a:pt x="14" y="344"/>
                      </a:lnTo>
                      <a:lnTo>
                        <a:pt x="28" y="358"/>
                      </a:lnTo>
                      <a:lnTo>
                        <a:pt x="28" y="358"/>
                      </a:lnTo>
                      <a:lnTo>
                        <a:pt x="36" y="364"/>
                      </a:lnTo>
                      <a:lnTo>
                        <a:pt x="42" y="366"/>
                      </a:lnTo>
                      <a:lnTo>
                        <a:pt x="46" y="368"/>
                      </a:lnTo>
                      <a:lnTo>
                        <a:pt x="46" y="368"/>
                      </a:lnTo>
                      <a:lnTo>
                        <a:pt x="52" y="368"/>
                      </a:lnTo>
                      <a:lnTo>
                        <a:pt x="56" y="372"/>
                      </a:lnTo>
                      <a:lnTo>
                        <a:pt x="60" y="376"/>
                      </a:lnTo>
                      <a:lnTo>
                        <a:pt x="60" y="376"/>
                      </a:lnTo>
                      <a:lnTo>
                        <a:pt x="64" y="380"/>
                      </a:lnTo>
                      <a:lnTo>
                        <a:pt x="70" y="384"/>
                      </a:lnTo>
                      <a:lnTo>
                        <a:pt x="78" y="386"/>
                      </a:lnTo>
                      <a:lnTo>
                        <a:pt x="78" y="386"/>
                      </a:lnTo>
                      <a:lnTo>
                        <a:pt x="84" y="386"/>
                      </a:lnTo>
                      <a:lnTo>
                        <a:pt x="92" y="390"/>
                      </a:lnTo>
                      <a:lnTo>
                        <a:pt x="98" y="394"/>
                      </a:lnTo>
                      <a:lnTo>
                        <a:pt x="100" y="398"/>
                      </a:lnTo>
                      <a:lnTo>
                        <a:pt x="100" y="398"/>
                      </a:lnTo>
                      <a:lnTo>
                        <a:pt x="104" y="402"/>
                      </a:lnTo>
                      <a:lnTo>
                        <a:pt x="112" y="406"/>
                      </a:lnTo>
                      <a:lnTo>
                        <a:pt x="120" y="410"/>
                      </a:lnTo>
                      <a:lnTo>
                        <a:pt x="120" y="410"/>
                      </a:lnTo>
                      <a:lnTo>
                        <a:pt x="126" y="418"/>
                      </a:lnTo>
                      <a:lnTo>
                        <a:pt x="130" y="426"/>
                      </a:lnTo>
                      <a:lnTo>
                        <a:pt x="130" y="430"/>
                      </a:lnTo>
                      <a:lnTo>
                        <a:pt x="130" y="430"/>
                      </a:lnTo>
                      <a:lnTo>
                        <a:pt x="132" y="434"/>
                      </a:lnTo>
                      <a:lnTo>
                        <a:pt x="136" y="436"/>
                      </a:lnTo>
                      <a:lnTo>
                        <a:pt x="142" y="438"/>
                      </a:lnTo>
                      <a:lnTo>
                        <a:pt x="142" y="438"/>
                      </a:lnTo>
                      <a:lnTo>
                        <a:pt x="146" y="442"/>
                      </a:lnTo>
                      <a:lnTo>
                        <a:pt x="150" y="446"/>
                      </a:lnTo>
                      <a:lnTo>
                        <a:pt x="152" y="452"/>
                      </a:lnTo>
                      <a:lnTo>
                        <a:pt x="152" y="452"/>
                      </a:lnTo>
                      <a:lnTo>
                        <a:pt x="152" y="456"/>
                      </a:lnTo>
                      <a:lnTo>
                        <a:pt x="154" y="458"/>
                      </a:lnTo>
                      <a:lnTo>
                        <a:pt x="158" y="466"/>
                      </a:lnTo>
                      <a:lnTo>
                        <a:pt x="166" y="472"/>
                      </a:lnTo>
                      <a:lnTo>
                        <a:pt x="170" y="474"/>
                      </a:lnTo>
                      <a:lnTo>
                        <a:pt x="170" y="474"/>
                      </a:lnTo>
                      <a:lnTo>
                        <a:pt x="174" y="476"/>
                      </a:lnTo>
                      <a:lnTo>
                        <a:pt x="178" y="480"/>
                      </a:lnTo>
                      <a:lnTo>
                        <a:pt x="182" y="486"/>
                      </a:lnTo>
                      <a:lnTo>
                        <a:pt x="182" y="486"/>
                      </a:lnTo>
                      <a:lnTo>
                        <a:pt x="186" y="490"/>
                      </a:lnTo>
                      <a:lnTo>
                        <a:pt x="192" y="494"/>
                      </a:lnTo>
                      <a:lnTo>
                        <a:pt x="200" y="500"/>
                      </a:lnTo>
                      <a:lnTo>
                        <a:pt x="200" y="500"/>
                      </a:lnTo>
                      <a:lnTo>
                        <a:pt x="216" y="510"/>
                      </a:lnTo>
                      <a:lnTo>
                        <a:pt x="224" y="516"/>
                      </a:lnTo>
                      <a:lnTo>
                        <a:pt x="224" y="516"/>
                      </a:lnTo>
                      <a:lnTo>
                        <a:pt x="230" y="518"/>
                      </a:lnTo>
                      <a:lnTo>
                        <a:pt x="238" y="518"/>
                      </a:lnTo>
                      <a:lnTo>
                        <a:pt x="246" y="518"/>
                      </a:lnTo>
                      <a:lnTo>
                        <a:pt x="268" y="512"/>
                      </a:lnTo>
                      <a:lnTo>
                        <a:pt x="288" y="504"/>
                      </a:lnTo>
                      <a:lnTo>
                        <a:pt x="306" y="496"/>
                      </a:lnTo>
                      <a:lnTo>
                        <a:pt x="332" y="486"/>
                      </a:lnTo>
                      <a:lnTo>
                        <a:pt x="350" y="482"/>
                      </a:lnTo>
                      <a:lnTo>
                        <a:pt x="350" y="482"/>
                      </a:lnTo>
                      <a:lnTo>
                        <a:pt x="350" y="482"/>
                      </a:lnTo>
                      <a:lnTo>
                        <a:pt x="334" y="504"/>
                      </a:lnTo>
                      <a:lnTo>
                        <a:pt x="320" y="526"/>
                      </a:lnTo>
                      <a:lnTo>
                        <a:pt x="320" y="526"/>
                      </a:lnTo>
                      <a:lnTo>
                        <a:pt x="302" y="566"/>
                      </a:lnTo>
                      <a:lnTo>
                        <a:pt x="298" y="576"/>
                      </a:lnTo>
                      <a:lnTo>
                        <a:pt x="298" y="582"/>
                      </a:lnTo>
                      <a:lnTo>
                        <a:pt x="298" y="586"/>
                      </a:lnTo>
                      <a:lnTo>
                        <a:pt x="300" y="586"/>
                      </a:lnTo>
                      <a:lnTo>
                        <a:pt x="302" y="586"/>
                      </a:lnTo>
                      <a:lnTo>
                        <a:pt x="310" y="598"/>
                      </a:lnTo>
                      <a:lnTo>
                        <a:pt x="310" y="598"/>
                      </a:lnTo>
                      <a:lnTo>
                        <a:pt x="318" y="604"/>
                      </a:lnTo>
                      <a:lnTo>
                        <a:pt x="334" y="622"/>
                      </a:lnTo>
                      <a:lnTo>
                        <a:pt x="344" y="630"/>
                      </a:lnTo>
                      <a:lnTo>
                        <a:pt x="356" y="638"/>
                      </a:lnTo>
                      <a:lnTo>
                        <a:pt x="366" y="644"/>
                      </a:lnTo>
                      <a:lnTo>
                        <a:pt x="376" y="646"/>
                      </a:lnTo>
                      <a:lnTo>
                        <a:pt x="376" y="646"/>
                      </a:lnTo>
                      <a:lnTo>
                        <a:pt x="384" y="646"/>
                      </a:lnTo>
                      <a:lnTo>
                        <a:pt x="390" y="648"/>
                      </a:lnTo>
                      <a:lnTo>
                        <a:pt x="396" y="650"/>
                      </a:lnTo>
                      <a:lnTo>
                        <a:pt x="398" y="654"/>
                      </a:lnTo>
                      <a:lnTo>
                        <a:pt x="402" y="660"/>
                      </a:lnTo>
                      <a:lnTo>
                        <a:pt x="404" y="662"/>
                      </a:lnTo>
                      <a:lnTo>
                        <a:pt x="404" y="662"/>
                      </a:lnTo>
                      <a:lnTo>
                        <a:pt x="414" y="670"/>
                      </a:lnTo>
                      <a:lnTo>
                        <a:pt x="424" y="676"/>
                      </a:lnTo>
                      <a:lnTo>
                        <a:pt x="428" y="678"/>
                      </a:lnTo>
                      <a:lnTo>
                        <a:pt x="434" y="676"/>
                      </a:lnTo>
                      <a:lnTo>
                        <a:pt x="434" y="676"/>
                      </a:lnTo>
                      <a:lnTo>
                        <a:pt x="438" y="678"/>
                      </a:lnTo>
                      <a:lnTo>
                        <a:pt x="444" y="680"/>
                      </a:lnTo>
                      <a:lnTo>
                        <a:pt x="454" y="692"/>
                      </a:lnTo>
                      <a:lnTo>
                        <a:pt x="460" y="704"/>
                      </a:lnTo>
                      <a:lnTo>
                        <a:pt x="464" y="710"/>
                      </a:lnTo>
                      <a:lnTo>
                        <a:pt x="464" y="710"/>
                      </a:lnTo>
                      <a:lnTo>
                        <a:pt x="466" y="716"/>
                      </a:lnTo>
                      <a:lnTo>
                        <a:pt x="470" y="730"/>
                      </a:lnTo>
                      <a:lnTo>
                        <a:pt x="472" y="740"/>
                      </a:lnTo>
                      <a:lnTo>
                        <a:pt x="472" y="750"/>
                      </a:lnTo>
                      <a:lnTo>
                        <a:pt x="470" y="760"/>
                      </a:lnTo>
                      <a:lnTo>
                        <a:pt x="468" y="770"/>
                      </a:lnTo>
                      <a:lnTo>
                        <a:pt x="468" y="770"/>
                      </a:lnTo>
                      <a:lnTo>
                        <a:pt x="460" y="788"/>
                      </a:lnTo>
                      <a:lnTo>
                        <a:pt x="456" y="800"/>
                      </a:lnTo>
                      <a:lnTo>
                        <a:pt x="454" y="810"/>
                      </a:lnTo>
                      <a:lnTo>
                        <a:pt x="454" y="810"/>
                      </a:lnTo>
                      <a:lnTo>
                        <a:pt x="452" y="816"/>
                      </a:lnTo>
                      <a:lnTo>
                        <a:pt x="452" y="824"/>
                      </a:lnTo>
                      <a:lnTo>
                        <a:pt x="454" y="832"/>
                      </a:lnTo>
                      <a:lnTo>
                        <a:pt x="454" y="832"/>
                      </a:lnTo>
                      <a:lnTo>
                        <a:pt x="458" y="852"/>
                      </a:lnTo>
                      <a:lnTo>
                        <a:pt x="462" y="858"/>
                      </a:lnTo>
                      <a:lnTo>
                        <a:pt x="466" y="864"/>
                      </a:lnTo>
                      <a:lnTo>
                        <a:pt x="466" y="864"/>
                      </a:lnTo>
                      <a:lnTo>
                        <a:pt x="468" y="864"/>
                      </a:lnTo>
                      <a:lnTo>
                        <a:pt x="472" y="864"/>
                      </a:lnTo>
                      <a:lnTo>
                        <a:pt x="472" y="864"/>
                      </a:lnTo>
                      <a:lnTo>
                        <a:pt x="476" y="860"/>
                      </a:lnTo>
                      <a:lnTo>
                        <a:pt x="480" y="858"/>
                      </a:lnTo>
                      <a:lnTo>
                        <a:pt x="496" y="810"/>
                      </a:lnTo>
                      <a:lnTo>
                        <a:pt x="490" y="798"/>
                      </a:lnTo>
                      <a:lnTo>
                        <a:pt x="490" y="798"/>
                      </a:lnTo>
                      <a:lnTo>
                        <a:pt x="492" y="792"/>
                      </a:lnTo>
                      <a:lnTo>
                        <a:pt x="494" y="786"/>
                      </a:lnTo>
                      <a:lnTo>
                        <a:pt x="498" y="784"/>
                      </a:lnTo>
                      <a:lnTo>
                        <a:pt x="498" y="784"/>
                      </a:lnTo>
                      <a:lnTo>
                        <a:pt x="502" y="778"/>
                      </a:lnTo>
                      <a:lnTo>
                        <a:pt x="506" y="770"/>
                      </a:lnTo>
                      <a:lnTo>
                        <a:pt x="508" y="758"/>
                      </a:lnTo>
                      <a:lnTo>
                        <a:pt x="508" y="758"/>
                      </a:lnTo>
                      <a:lnTo>
                        <a:pt x="512" y="748"/>
                      </a:lnTo>
                      <a:lnTo>
                        <a:pt x="520" y="726"/>
                      </a:lnTo>
                      <a:lnTo>
                        <a:pt x="520" y="726"/>
                      </a:lnTo>
                      <a:lnTo>
                        <a:pt x="524" y="694"/>
                      </a:lnTo>
                      <a:lnTo>
                        <a:pt x="526" y="676"/>
                      </a:lnTo>
                      <a:lnTo>
                        <a:pt x="524" y="662"/>
                      </a:lnTo>
                      <a:lnTo>
                        <a:pt x="524" y="662"/>
                      </a:lnTo>
                      <a:lnTo>
                        <a:pt x="504" y="578"/>
                      </a:lnTo>
                      <a:lnTo>
                        <a:pt x="494" y="526"/>
                      </a:lnTo>
                      <a:lnTo>
                        <a:pt x="492" y="510"/>
                      </a:lnTo>
                      <a:lnTo>
                        <a:pt x="492" y="504"/>
                      </a:lnTo>
                      <a:lnTo>
                        <a:pt x="494" y="502"/>
                      </a:lnTo>
                      <a:lnTo>
                        <a:pt x="494" y="502"/>
                      </a:lnTo>
                      <a:lnTo>
                        <a:pt x="498" y="498"/>
                      </a:lnTo>
                      <a:lnTo>
                        <a:pt x="500" y="492"/>
                      </a:lnTo>
                      <a:lnTo>
                        <a:pt x="504" y="474"/>
                      </a:lnTo>
                      <a:lnTo>
                        <a:pt x="512" y="500"/>
                      </a:lnTo>
                      <a:lnTo>
                        <a:pt x="518" y="508"/>
                      </a:lnTo>
                      <a:lnTo>
                        <a:pt x="518" y="520"/>
                      </a:lnTo>
                      <a:lnTo>
                        <a:pt x="526" y="538"/>
                      </a:lnTo>
                      <a:lnTo>
                        <a:pt x="528" y="542"/>
                      </a:lnTo>
                      <a:lnTo>
                        <a:pt x="538" y="568"/>
                      </a:lnTo>
                      <a:lnTo>
                        <a:pt x="542" y="568"/>
                      </a:lnTo>
                      <a:lnTo>
                        <a:pt x="544" y="572"/>
                      </a:lnTo>
                      <a:lnTo>
                        <a:pt x="542" y="576"/>
                      </a:lnTo>
                      <a:lnTo>
                        <a:pt x="548" y="588"/>
                      </a:lnTo>
                      <a:lnTo>
                        <a:pt x="556" y="608"/>
                      </a:lnTo>
                      <a:lnTo>
                        <a:pt x="570" y="620"/>
                      </a:lnTo>
                      <a:lnTo>
                        <a:pt x="588" y="626"/>
                      </a:lnTo>
                      <a:lnTo>
                        <a:pt x="584" y="614"/>
                      </a:lnTo>
                      <a:lnTo>
                        <a:pt x="590" y="624"/>
                      </a:lnTo>
                      <a:lnTo>
                        <a:pt x="598" y="608"/>
                      </a:lnTo>
                      <a:lnTo>
                        <a:pt x="598" y="590"/>
                      </a:lnTo>
                      <a:lnTo>
                        <a:pt x="590" y="570"/>
                      </a:lnTo>
                      <a:lnTo>
                        <a:pt x="586" y="558"/>
                      </a:lnTo>
                      <a:lnTo>
                        <a:pt x="580" y="556"/>
                      </a:lnTo>
                      <a:lnTo>
                        <a:pt x="580" y="552"/>
                      </a:lnTo>
                      <a:lnTo>
                        <a:pt x="582" y="548"/>
                      </a:lnTo>
                      <a:lnTo>
                        <a:pt x="572" y="524"/>
                      </a:lnTo>
                      <a:lnTo>
                        <a:pt x="570" y="520"/>
                      </a:lnTo>
                      <a:lnTo>
                        <a:pt x="562" y="502"/>
                      </a:lnTo>
                      <a:lnTo>
                        <a:pt x="554" y="492"/>
                      </a:lnTo>
                      <a:lnTo>
                        <a:pt x="550" y="484"/>
                      </a:lnTo>
                      <a:lnTo>
                        <a:pt x="538" y="460"/>
                      </a:lnTo>
                      <a:lnTo>
                        <a:pt x="538" y="460"/>
                      </a:lnTo>
                      <a:lnTo>
                        <a:pt x="554" y="470"/>
                      </a:lnTo>
                      <a:lnTo>
                        <a:pt x="560" y="472"/>
                      </a:lnTo>
                      <a:lnTo>
                        <a:pt x="566" y="472"/>
                      </a:lnTo>
                      <a:lnTo>
                        <a:pt x="566" y="472"/>
                      </a:lnTo>
                      <a:close/>
                      <a:moveTo>
                        <a:pt x="466" y="344"/>
                      </a:moveTo>
                      <a:lnTo>
                        <a:pt x="466" y="344"/>
                      </a:lnTo>
                      <a:lnTo>
                        <a:pt x="466" y="344"/>
                      </a:lnTo>
                      <a:lnTo>
                        <a:pt x="466" y="344"/>
                      </a:lnTo>
                      <a:lnTo>
                        <a:pt x="466" y="344"/>
                      </a:lnTo>
                      <a:close/>
                    </a:path>
                  </a:pathLst>
                </a:custGeom>
                <a:solidFill>
                  <a:schemeClr val="bg2">
                    <a:lumMod val="60000"/>
                    <a:lumOff val="40000"/>
                    <a:alpha val="72000"/>
                  </a:scheme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9442" y="675724"/>
            <a:ext cx="7125113" cy="9244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9443" y="1807361"/>
            <a:ext cx="7125112" cy="40514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37344" y="595181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80945" y="5951810"/>
            <a:ext cx="5256399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2658" y="5951810"/>
            <a:ext cx="608287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17E883E-3632-4775-B39D-556A02B56A7A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741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2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Trebuchet M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ct val="20000"/>
        </a:spcBef>
        <a:spcAft>
          <a:spcPts val="600"/>
        </a:spcAft>
        <a:buClr>
          <a:schemeClr val="tx1">
            <a:lumMod val="75000"/>
            <a:lumOff val="25000"/>
          </a:schemeClr>
        </a:buClr>
        <a:buFont typeface="Wingdings 2" charset="2"/>
        <a:buChar char="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>
            <a:lumMod val="75000"/>
            <a:lumOff val="25000"/>
          </a:schemeClr>
        </a:buClr>
        <a:buFont typeface="Wingdings 2" charset="2"/>
        <a:buChar char="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>
            <a:lumMod val="75000"/>
            <a:lumOff val="25000"/>
          </a:schemeClr>
        </a:buClr>
        <a:buFont typeface="Wingdings 2" charset="2"/>
        <a:buChar char="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>
            <a:lumMod val="75000"/>
            <a:lumOff val="25000"/>
          </a:schemeClr>
        </a:buClr>
        <a:buFont typeface="Wingdings 2" charset="2"/>
        <a:buChar char="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>
            <a:lumMod val="75000"/>
            <a:lumOff val="25000"/>
          </a:schemeClr>
        </a:buClr>
        <a:buFont typeface="Wingdings 2" charset="2"/>
        <a:buChar char="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60000"/>
                <a:lumOff val="40000"/>
              </a:schemeClr>
            </a:gs>
            <a:gs pos="10000">
              <a:schemeClr val="accent5">
                <a:lumMod val="40000"/>
                <a:lumOff val="60000"/>
              </a:schemeClr>
            </a:gs>
            <a:gs pos="20000">
              <a:schemeClr val="accent5">
                <a:lumMod val="40000"/>
                <a:lumOff val="60000"/>
                <a:alpha val="16000"/>
              </a:schemeClr>
            </a:gs>
            <a:gs pos="30000">
              <a:schemeClr val="bg1">
                <a:lumMod val="95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31859C">
              <a:alpha val="21176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7" name="Picture 6" descr="grid_00000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0"/>
            <a:ext cx="5334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304800" cy="6858000"/>
          </a:xfrm>
          <a:prstGeom prst="rect">
            <a:avLst/>
          </a:prstGeom>
          <a:solidFill>
            <a:schemeClr val="accent5">
              <a:lumMod val="7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10800000">
            <a:off x="8610600" y="0"/>
            <a:ext cx="533400" cy="64008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 rot="10800000">
            <a:off x="8839200" y="0"/>
            <a:ext cx="304800" cy="6858000"/>
          </a:xfrm>
          <a:prstGeom prst="rect">
            <a:avLst/>
          </a:prstGeom>
          <a:solidFill>
            <a:schemeClr val="accent5">
              <a:lumMod val="7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749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background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6599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3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smtClean="0">
              <a:solidFill>
                <a:srgbClr val="FFFFFF"/>
              </a:solidFill>
              <a:latin typeface="Siemens Slab" pitchFamily="2" charset="0"/>
            </a:endParaRPr>
          </a:p>
        </p:txBody>
      </p:sp>
      <p:sp>
        <p:nvSpPr>
          <p:cNvPr id="2051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58763"/>
            <a:ext cx="6140450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2052" name="Rectangle 1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590675"/>
            <a:ext cx="8208963" cy="468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2053" name="Text Box 133"/>
          <p:cNvSpPr txBox="1">
            <a:spLocks noChangeArrowheads="1"/>
          </p:cNvSpPr>
          <p:nvPr/>
        </p:nvSpPr>
        <p:spPr bwMode="auto">
          <a:xfrm>
            <a:off x="555625" y="6464300"/>
            <a:ext cx="819308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charset="0"/>
              </a:rPr>
              <a:t>Siemens Industry, Inc.</a:t>
            </a:r>
          </a:p>
        </p:txBody>
      </p:sp>
      <p:pic>
        <p:nvPicPr>
          <p:cNvPr id="2054" name="Picture 165" descr="sie_logo_petrol_rgb_2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0900" y="423863"/>
            <a:ext cx="16002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3" name="Rectangle 16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39750" y="6488113"/>
            <a:ext cx="877888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>
                <a:solidFill>
                  <a:srgbClr val="000000"/>
                </a:solidFill>
                <a:latin typeface="+mn-lt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/>
              <a:t>Page </a:t>
            </a:r>
            <a:fld id="{7934D38B-795E-4DC9-8057-8A463B7FA756}" type="slidenum">
              <a:rPr lang="en-US"/>
              <a:pPr fontAlgn="base"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596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2pPr>
      <a:lvl3pPr marL="381000" indent="-1889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573088" indent="-1905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4pPr>
      <a:lvl5pPr marL="763588" indent="-1889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1220788" indent="-188913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677988" indent="-188913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135188" indent="-188913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592388" indent="-188913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43.xml"/><Relationship Id="rId1" Type="http://schemas.openxmlformats.org/officeDocument/2006/relationships/tags" Target="../tags/tag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7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9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jpeg"/><Relationship Id="rId5" Type="http://schemas.openxmlformats.org/officeDocument/2006/relationships/image" Target="../media/image37.png"/><Relationship Id="rId10" Type="http://schemas.openxmlformats.org/officeDocument/2006/relationships/image" Target="../media/image42.jpeg"/><Relationship Id="rId4" Type="http://schemas.openxmlformats.org/officeDocument/2006/relationships/image" Target="../media/image36.jpeg"/><Relationship Id="rId9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1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tlauderdalecc.com/" TargetMode="External"/><Relationship Id="rId2" Type="http://schemas.openxmlformats.org/officeDocument/2006/relationships/hyperlink" Target="mailto:jjohnson@ftlauderdalecc.com" TargetMode="Externa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66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9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9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9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9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9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9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9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9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9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29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29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29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G"/><Relationship Id="rId1" Type="http://schemas.openxmlformats.org/officeDocument/2006/relationships/slideLayout" Target="../slideLayouts/slideLayout29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29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9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29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29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609600" y="2590800"/>
            <a:ext cx="80772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0070C0"/>
                </a:solidFill>
                <a:latin typeface="Brush Script MT" pitchFamily="66" charset="0"/>
              </a:rPr>
              <a:t>A Blueprint for Successful Renewable Energy Applications</a:t>
            </a:r>
            <a:endParaRPr lang="en-US" sz="5400" b="1" dirty="0">
              <a:solidFill>
                <a:srgbClr val="0070C0"/>
              </a:solidFill>
              <a:latin typeface="Brush Script MT" pitchFamily="66" charset="0"/>
            </a:endParaRPr>
          </a:p>
        </p:txBody>
      </p:sp>
      <p:pic>
        <p:nvPicPr>
          <p:cNvPr id="9" name="Picture 8" descr="logo" title="go solar fest logo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6849" y="533400"/>
            <a:ext cx="6350000" cy="158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07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pic>
        <p:nvPicPr>
          <p:cNvPr id="12291" name="Picture 2" descr="pen" title="Picture of a pen"/>
          <p:cNvPicPr>
            <a:picLocks noChangeAspect="1" noChangeArrowheads="1"/>
          </p:cNvPicPr>
          <p:nvPr/>
        </p:nvPicPr>
        <p:blipFill>
          <a:blip r:embed="rId3">
            <a:lum contrast="-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338" y="1717675"/>
            <a:ext cx="2174875" cy="150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2" name="Picture 3" descr="traffic" title="Picture of traffic"/>
          <p:cNvPicPr>
            <a:picLocks noChangeAspect="1" noChangeArrowheads="1"/>
          </p:cNvPicPr>
          <p:nvPr/>
        </p:nvPicPr>
        <p:blipFill>
          <a:blip r:embed="rId4">
            <a:lum contrast="-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338" y="4795838"/>
            <a:ext cx="2173287" cy="150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4" descr="city" title="Picture of a city"/>
          <p:cNvPicPr>
            <a:picLocks noChangeAspect="1" noChangeArrowheads="1"/>
          </p:cNvPicPr>
          <p:nvPr/>
        </p:nvPicPr>
        <p:blipFill>
          <a:blip r:embed="rId5">
            <a:lum contrast="-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338" y="3265488"/>
            <a:ext cx="2171700" cy="149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4" name="Rectangle 5"/>
          <p:cNvSpPr>
            <a:spLocks noChangeArrowheads="1"/>
          </p:cNvSpPr>
          <p:nvPr/>
        </p:nvSpPr>
        <p:spPr bwMode="auto">
          <a:xfrm>
            <a:off x="1946275" y="3265488"/>
            <a:ext cx="2573338" cy="14954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295" name="Rectangle 6"/>
          <p:cNvSpPr>
            <a:spLocks noChangeArrowheads="1"/>
          </p:cNvSpPr>
          <p:nvPr/>
        </p:nvSpPr>
        <p:spPr bwMode="auto">
          <a:xfrm>
            <a:off x="1946275" y="1717675"/>
            <a:ext cx="2573338" cy="15097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88137" name="Text Box 9"/>
          <p:cNvSpPr txBox="1">
            <a:spLocks noChangeArrowheads="1"/>
          </p:cNvSpPr>
          <p:nvPr/>
        </p:nvSpPr>
        <p:spPr bwMode="auto">
          <a:xfrm>
            <a:off x="2022475" y="1792288"/>
            <a:ext cx="2530475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rPr>
              <a:t>Economics</a:t>
            </a:r>
          </a:p>
        </p:txBody>
      </p:sp>
      <p:sp>
        <p:nvSpPr>
          <p:cNvPr id="688138" name="Text Box 10"/>
          <p:cNvSpPr txBox="1">
            <a:spLocks noChangeArrowheads="1"/>
          </p:cNvSpPr>
          <p:nvPr/>
        </p:nvSpPr>
        <p:spPr bwMode="auto">
          <a:xfrm>
            <a:off x="1989138" y="3349625"/>
            <a:ext cx="2530475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rPr>
              <a:t>Demographics</a:t>
            </a:r>
          </a:p>
        </p:txBody>
      </p:sp>
      <p:sp>
        <p:nvSpPr>
          <p:cNvPr id="12298" name="Text Box 11"/>
          <p:cNvSpPr txBox="1">
            <a:spLocks noChangeArrowheads="1"/>
          </p:cNvSpPr>
          <p:nvPr/>
        </p:nvSpPr>
        <p:spPr bwMode="auto">
          <a:xfrm>
            <a:off x="2132013" y="5410200"/>
            <a:ext cx="2962275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Sustainability</a:t>
            </a:r>
          </a:p>
        </p:txBody>
      </p:sp>
      <p:sp>
        <p:nvSpPr>
          <p:cNvPr id="12299" name="Rectangle 32"/>
          <p:cNvSpPr>
            <a:spLocks noChangeArrowheads="1"/>
          </p:cNvSpPr>
          <p:nvPr/>
        </p:nvSpPr>
        <p:spPr bwMode="auto">
          <a:xfrm>
            <a:off x="160338" y="1295400"/>
            <a:ext cx="4360862" cy="430213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Key Issues</a:t>
            </a:r>
            <a:endParaRPr lang="en-US" sz="16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300" name="Rectangle 13"/>
          <p:cNvSpPr>
            <a:spLocks noChangeArrowheads="1"/>
          </p:cNvSpPr>
          <p:nvPr/>
        </p:nvSpPr>
        <p:spPr bwMode="auto">
          <a:xfrm>
            <a:off x="1946275" y="4795838"/>
            <a:ext cx="2573338" cy="15097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301" name="Rectangle 32"/>
          <p:cNvSpPr>
            <a:spLocks noChangeArrowheads="1"/>
          </p:cNvSpPr>
          <p:nvPr/>
        </p:nvSpPr>
        <p:spPr bwMode="auto">
          <a:xfrm>
            <a:off x="4908550" y="1295400"/>
            <a:ext cx="4003675" cy="430213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Key Challenges</a:t>
            </a:r>
            <a:endParaRPr lang="en-US" sz="16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88143" name="Text Box 15"/>
          <p:cNvSpPr txBox="1">
            <a:spLocks noChangeArrowheads="1"/>
          </p:cNvSpPr>
          <p:nvPr/>
        </p:nvSpPr>
        <p:spPr bwMode="auto">
          <a:xfrm>
            <a:off x="1990725" y="4894263"/>
            <a:ext cx="2530475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rPr>
              <a:t>Sustainability</a:t>
            </a:r>
          </a:p>
        </p:txBody>
      </p:sp>
      <p:sp>
        <p:nvSpPr>
          <p:cNvPr id="12303" name="AutoShape 16"/>
          <p:cNvSpPr>
            <a:spLocks noChangeArrowheads="1"/>
          </p:cNvSpPr>
          <p:nvPr/>
        </p:nvSpPr>
        <p:spPr bwMode="auto">
          <a:xfrm rot="5400000">
            <a:off x="4169569" y="2377282"/>
            <a:ext cx="1117600" cy="246062"/>
          </a:xfrm>
          <a:prstGeom prst="triangle">
            <a:avLst>
              <a:gd name="adj" fmla="val 50000"/>
            </a:avLst>
          </a:prstGeom>
          <a:solidFill>
            <a:srgbClr val="996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304" name="AutoShape 17"/>
          <p:cNvSpPr>
            <a:spLocks noChangeArrowheads="1"/>
          </p:cNvSpPr>
          <p:nvPr/>
        </p:nvSpPr>
        <p:spPr bwMode="auto">
          <a:xfrm rot="5400000">
            <a:off x="4169569" y="3863182"/>
            <a:ext cx="1117600" cy="246062"/>
          </a:xfrm>
          <a:prstGeom prst="triangle">
            <a:avLst>
              <a:gd name="adj" fmla="val 50000"/>
            </a:avLst>
          </a:prstGeom>
          <a:solidFill>
            <a:srgbClr val="996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305" name="AutoShape 18"/>
          <p:cNvSpPr>
            <a:spLocks noChangeArrowheads="1"/>
          </p:cNvSpPr>
          <p:nvPr/>
        </p:nvSpPr>
        <p:spPr bwMode="auto">
          <a:xfrm rot="5400000">
            <a:off x="4169569" y="5441157"/>
            <a:ext cx="1117600" cy="246062"/>
          </a:xfrm>
          <a:prstGeom prst="triangle">
            <a:avLst>
              <a:gd name="adj" fmla="val 50000"/>
            </a:avLst>
          </a:prstGeom>
          <a:solidFill>
            <a:srgbClr val="996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306" name="TextBox 10"/>
          <p:cNvSpPr txBox="1">
            <a:spLocks noChangeArrowheads="1"/>
          </p:cNvSpPr>
          <p:nvPr/>
        </p:nvSpPr>
        <p:spPr bwMode="auto">
          <a:xfrm>
            <a:off x="160338" y="2716213"/>
            <a:ext cx="4359275" cy="523875"/>
          </a:xfrm>
          <a:prstGeom prst="rect">
            <a:avLst/>
          </a:prstGeom>
          <a:solidFill>
            <a:schemeClr val="hlink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The ability to provide and fund necessary services and community infrastructure</a:t>
            </a:r>
          </a:p>
        </p:txBody>
      </p:sp>
      <p:sp>
        <p:nvSpPr>
          <p:cNvPr id="12307" name="TextBox 10"/>
          <p:cNvSpPr txBox="1">
            <a:spLocks noChangeArrowheads="1"/>
          </p:cNvSpPr>
          <p:nvPr/>
        </p:nvSpPr>
        <p:spPr bwMode="auto">
          <a:xfrm>
            <a:off x="160338" y="4249738"/>
            <a:ext cx="4359275" cy="523875"/>
          </a:xfrm>
          <a:prstGeom prst="rect">
            <a:avLst/>
          </a:prstGeom>
          <a:solidFill>
            <a:schemeClr val="hlink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The impact of broad demographic shifts on cities and counties</a:t>
            </a:r>
          </a:p>
        </p:txBody>
      </p:sp>
      <p:sp>
        <p:nvSpPr>
          <p:cNvPr id="12308" name="TextBox 10"/>
          <p:cNvSpPr txBox="1">
            <a:spLocks noChangeArrowheads="1"/>
          </p:cNvSpPr>
          <p:nvPr/>
        </p:nvSpPr>
        <p:spPr bwMode="auto">
          <a:xfrm>
            <a:off x="160338" y="5794375"/>
            <a:ext cx="4359275" cy="523875"/>
          </a:xfrm>
          <a:prstGeom prst="rect">
            <a:avLst/>
          </a:prstGeom>
          <a:solidFill>
            <a:schemeClr val="hlink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The ability to remain a viable, sustainable community for years to come</a:t>
            </a:r>
          </a:p>
        </p:txBody>
      </p:sp>
      <p:graphicFrame>
        <p:nvGraphicFramePr>
          <p:cNvPr id="688150" name="Group 22"/>
          <p:cNvGraphicFramePr>
            <a:graphicFrameLocks noGrp="1"/>
          </p:cNvGraphicFramePr>
          <p:nvPr>
            <p:ph idx="1"/>
          </p:nvPr>
        </p:nvGraphicFramePr>
        <p:xfrm>
          <a:off x="4908550" y="1716088"/>
          <a:ext cx="4003675" cy="4651440"/>
        </p:xfrm>
        <a:graphic>
          <a:graphicData uri="http://schemas.openxmlformats.org/drawingml/2006/table">
            <a:tbl>
              <a:tblPr/>
              <a:tblGrid>
                <a:gridCol w="4003675"/>
              </a:tblGrid>
              <a:tr h="1523725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The state of local government finances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Community impact of economic downturn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Current economic crisis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How long?  How deep?</a:t>
                      </a:r>
                    </a:p>
                  </a:txBody>
                  <a:tcPr marL="137160" marR="137160" marT="45712" marB="45712" anchor="ctr" horzOverflow="overflow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542771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Population migration – rural to urban, etc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Rapid growth of major metro areas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Strains on infrastructure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Aging population; demands for services…</a:t>
                      </a:r>
                    </a:p>
                  </a:txBody>
                  <a:tcPr marL="137160" marR="137160" marT="45712" marB="45712" anchor="ctr" horzOverflow="overflow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584878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Scarcity of natural resources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Cities responsible for 80% of GHG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Ability to attract business, maintain vitality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Changing attitudes towards environment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Local government taking leadership role…</a:t>
                      </a:r>
                    </a:p>
                    <a:p>
                      <a:pPr marL="174625" marR="0" lvl="0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10000"/>
                        </a:spcAft>
                        <a:buClr>
                          <a:schemeClr val="bg1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37160" marR="137160" marT="45712" marB="45712" anchor="ctr" horzOverflow="overflow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319" name="Line 32"/>
          <p:cNvSpPr>
            <a:spLocks noChangeShapeType="1"/>
          </p:cNvSpPr>
          <p:nvPr/>
        </p:nvSpPr>
        <p:spPr bwMode="auto">
          <a:xfrm>
            <a:off x="160338" y="3251200"/>
            <a:ext cx="4359275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2320" name="Line 33"/>
          <p:cNvSpPr>
            <a:spLocks noChangeShapeType="1"/>
          </p:cNvSpPr>
          <p:nvPr/>
        </p:nvSpPr>
        <p:spPr bwMode="auto">
          <a:xfrm>
            <a:off x="152400" y="4781550"/>
            <a:ext cx="4359275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2321" name="Line 34"/>
          <p:cNvSpPr>
            <a:spLocks noChangeShapeType="1"/>
          </p:cNvSpPr>
          <p:nvPr/>
        </p:nvSpPr>
        <p:spPr bwMode="auto">
          <a:xfrm>
            <a:off x="165100" y="1695450"/>
            <a:ext cx="4359275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2322" name="Text Box 6"/>
          <p:cNvSpPr txBox="1">
            <a:spLocks noChangeArrowheads="1"/>
          </p:cNvSpPr>
          <p:nvPr/>
        </p:nvSpPr>
        <p:spPr bwMode="auto">
          <a:xfrm>
            <a:off x="457200" y="452438"/>
            <a:ext cx="82137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smtClean="0">
                <a:solidFill>
                  <a:srgbClr val="000000"/>
                </a:solidFill>
                <a:latin typeface="Arial" charset="0"/>
                <a:cs typeface="Arial" charset="0"/>
              </a:rPr>
              <a:t>Challenges of a vibrant, growing and green community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19364926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 Box 6"/>
          <p:cNvSpPr txBox="1">
            <a:spLocks noChangeArrowheads="1"/>
          </p:cNvSpPr>
          <p:nvPr/>
        </p:nvSpPr>
        <p:spPr bwMode="auto">
          <a:xfrm>
            <a:off x="1905000" y="228600"/>
            <a:ext cx="6472238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2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Findings of local governments…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2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Opportunities</a:t>
            </a:r>
          </a:p>
        </p:txBody>
      </p:sp>
      <p:sp>
        <p:nvSpPr>
          <p:cNvPr id="12291" name="Text Box 7"/>
          <p:cNvSpPr txBox="1">
            <a:spLocks noChangeArrowheads="1"/>
          </p:cNvSpPr>
          <p:nvPr/>
        </p:nvSpPr>
        <p:spPr bwMode="auto">
          <a:xfrm>
            <a:off x="2743200" y="1371600"/>
            <a:ext cx="5715000" cy="45545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tIns="91440" bIns="91440">
            <a:spAutoFit/>
          </a:bodyPr>
          <a:lstStyle/>
          <a:p>
            <a:pPr marL="261938" indent="-261938" defTabSz="762000" eaLnBrk="0" fontAlgn="base" hangingPunct="0">
              <a:spcBef>
                <a:spcPct val="40000"/>
              </a:spcBef>
              <a:spcAft>
                <a:spcPct val="40000"/>
              </a:spcAft>
              <a:buClr>
                <a:srgbClr val="000000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Infrastructure budgets for 2009 adversely affected by economic crisis. </a:t>
            </a:r>
          </a:p>
          <a:p>
            <a:pPr marL="261938" indent="-261938" defTabSz="762000" eaLnBrk="0" fontAlgn="base" hangingPunct="0">
              <a:spcBef>
                <a:spcPct val="40000"/>
              </a:spcBef>
              <a:spcAft>
                <a:spcPct val="40000"/>
              </a:spcAft>
              <a:buClr>
                <a:srgbClr val="000000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en-US" sz="2000" b="1" i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 pitchFamily="34" charset="0"/>
                <a:cs typeface="Arial" pitchFamily="34" charset="0"/>
              </a:rPr>
              <a:t>Approximately 22% of respondents expect a reduction of 15% or more this year.</a:t>
            </a:r>
          </a:p>
          <a:p>
            <a:pPr marL="261938" indent="-261938" defTabSz="762000" eaLnBrk="0" fontAlgn="base" hangingPunct="0">
              <a:spcBef>
                <a:spcPct val="40000"/>
              </a:spcBef>
              <a:spcAft>
                <a:spcPct val="40000"/>
              </a:spcAft>
              <a:buClr>
                <a:srgbClr val="000000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City leaders identify lack of funding to meet infrastructure needs as most serious challenge.</a:t>
            </a:r>
          </a:p>
          <a:p>
            <a:pPr marL="261938" indent="-261938" defTabSz="762000" eaLnBrk="0" fontAlgn="base" hangingPunct="0">
              <a:spcBef>
                <a:spcPct val="40000"/>
              </a:spcBef>
              <a:spcAft>
                <a:spcPct val="40000"/>
              </a:spcAft>
              <a:buClr>
                <a:srgbClr val="000000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Climate friendly technologies represent significant economic opportunity for cities.</a:t>
            </a:r>
          </a:p>
          <a:p>
            <a:pPr marL="261938" indent="-261938" defTabSz="762000" eaLnBrk="0" fontAlgn="base" hangingPunct="0">
              <a:spcBef>
                <a:spcPct val="40000"/>
              </a:spcBef>
              <a:spcAft>
                <a:spcPct val="40000"/>
              </a:spcAft>
              <a:buClr>
                <a:srgbClr val="000000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Broad recognition that infrastructure plays critical role in addressing climate issues.</a:t>
            </a:r>
          </a:p>
        </p:txBody>
      </p:sp>
      <p:pic>
        <p:nvPicPr>
          <p:cNvPr id="13316" name="Picture 4" descr="Metropolitan Infrastructure Sustainability Study book" title="United States Conference of Mayor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800" y="2743200"/>
            <a:ext cx="2203450" cy="31130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6488113"/>
            <a:ext cx="5175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CH</a:t>
            </a:r>
          </a:p>
        </p:txBody>
      </p:sp>
    </p:spTree>
    <p:extLst>
      <p:ext uri="{BB962C8B-B14F-4D97-AF65-F5344CB8AC3E}">
        <p14:creationId xmlns:p14="http://schemas.microsoft.com/office/powerpoint/2010/main" val="42811968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4" descr="Can send to you with your email address" title="Metropolitan Infrastructure Sustainability Study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5600" y="304800"/>
            <a:ext cx="4468813" cy="63134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91" name="TextBox 5"/>
          <p:cNvSpPr txBox="1">
            <a:spLocks noChangeArrowheads="1"/>
          </p:cNvSpPr>
          <p:nvPr/>
        </p:nvSpPr>
        <p:spPr bwMode="auto">
          <a:xfrm>
            <a:off x="1828800" y="2743200"/>
            <a:ext cx="6858000" cy="1138238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6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Give me your email address…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2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and this report will be sent to you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27649730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2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29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2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22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6"/>
          <p:cNvSpPr txBox="1">
            <a:spLocks noChangeArrowheads="1"/>
          </p:cNvSpPr>
          <p:nvPr/>
        </p:nvSpPr>
        <p:spPr bwMode="auto">
          <a:xfrm>
            <a:off x="2209800" y="2286000"/>
            <a:ext cx="57150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000" b="1" smtClean="0">
                <a:solidFill>
                  <a:srgbClr val="000000"/>
                </a:solidFill>
                <a:latin typeface="Arial" charset="0"/>
              </a:rPr>
              <a:t>…A Vibrant, Growing and Green Community</a:t>
            </a:r>
          </a:p>
        </p:txBody>
      </p:sp>
      <p:sp>
        <p:nvSpPr>
          <p:cNvPr id="14339" name="TextBox 4" descr="Word art showing solutions" title="Solutions"/>
          <p:cNvSpPr txBox="1">
            <a:spLocks noChangeArrowheads="1"/>
          </p:cNvSpPr>
          <p:nvPr/>
        </p:nvSpPr>
        <p:spPr bwMode="auto">
          <a:xfrm rot="-2700000">
            <a:off x="2147888" y="2706688"/>
            <a:ext cx="5580062" cy="1323975"/>
          </a:xfrm>
          <a:prstGeom prst="rect">
            <a:avLst/>
          </a:prstGeom>
          <a:solidFill>
            <a:srgbClr val="33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0" dirty="0" smtClean="0">
                <a:solidFill>
                  <a:srgbClr val="FFFFFF"/>
                </a:solidFill>
                <a:latin typeface="Stencil" pitchFamily="82" charset="0"/>
              </a:rPr>
              <a:t>Solution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2279514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3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3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3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43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3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Box 7"/>
          <p:cNvSpPr txBox="1">
            <a:spLocks noChangeArrowheads="1"/>
          </p:cNvSpPr>
          <p:nvPr/>
        </p:nvSpPr>
        <p:spPr bwMode="auto">
          <a:xfrm>
            <a:off x="2095500" y="990600"/>
            <a:ext cx="34671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600" b="1" smtClean="0">
                <a:solidFill>
                  <a:srgbClr val="000000"/>
                </a:solidFill>
                <a:latin typeface="Arial" charset="0"/>
              </a:rPr>
              <a:t>What is LEED?</a:t>
            </a:r>
          </a:p>
        </p:txBody>
      </p:sp>
      <p:sp>
        <p:nvSpPr>
          <p:cNvPr id="16387" name="Text Box 8"/>
          <p:cNvSpPr txBox="1">
            <a:spLocks noChangeArrowheads="1"/>
          </p:cNvSpPr>
          <p:nvPr/>
        </p:nvSpPr>
        <p:spPr bwMode="auto">
          <a:xfrm>
            <a:off x="2133600" y="2667000"/>
            <a:ext cx="6248400" cy="335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LEED is… </a:t>
            </a:r>
            <a:r>
              <a:rPr lang="en-US" sz="32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L</a:t>
            </a: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eadership in </a:t>
            </a:r>
            <a:r>
              <a:rPr lang="en-US" sz="32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E</a:t>
            </a: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nergy and </a:t>
            </a:r>
            <a:r>
              <a:rPr lang="en-US" sz="32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E</a:t>
            </a: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nvironmental </a:t>
            </a:r>
            <a:r>
              <a:rPr lang="en-US" sz="32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D</a:t>
            </a: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esig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i="1" smtClean="0">
                <a:solidFill>
                  <a:srgbClr val="000000"/>
                </a:solidFill>
                <a:latin typeface="Arial" charset="0"/>
                <a:cs typeface="Arial" charset="0"/>
              </a:rPr>
              <a:t>…it is a rating system in seven major categories for the design, construction and operation of high performance buildings.</a:t>
            </a:r>
          </a:p>
        </p:txBody>
      </p:sp>
      <p:pic>
        <p:nvPicPr>
          <p:cNvPr id="16388" name="Picture 11" descr="Logo for LEED" title="Log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2725" y="304800"/>
            <a:ext cx="2124075" cy="215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6488113"/>
            <a:ext cx="5175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CH</a:t>
            </a:r>
          </a:p>
        </p:txBody>
      </p:sp>
    </p:spTree>
    <p:extLst>
      <p:ext uri="{BB962C8B-B14F-4D97-AF65-F5344CB8AC3E}">
        <p14:creationId xmlns:p14="http://schemas.microsoft.com/office/powerpoint/2010/main" val="2938436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ext Box 7"/>
          <p:cNvSpPr txBox="1">
            <a:spLocks noChangeArrowheads="1"/>
          </p:cNvSpPr>
          <p:nvPr/>
        </p:nvSpPr>
        <p:spPr bwMode="auto">
          <a:xfrm>
            <a:off x="2611438" y="990600"/>
            <a:ext cx="52879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600" b="1" smtClean="0">
                <a:solidFill>
                  <a:srgbClr val="000000"/>
                </a:solidFill>
                <a:latin typeface="Arial" charset="0"/>
              </a:rPr>
              <a:t>LEED Major Categories</a:t>
            </a:r>
          </a:p>
        </p:txBody>
      </p:sp>
      <p:sp>
        <p:nvSpPr>
          <p:cNvPr id="17411" name="Text Box 8"/>
          <p:cNvSpPr txBox="1">
            <a:spLocks noChangeArrowheads="1"/>
          </p:cNvSpPr>
          <p:nvPr/>
        </p:nvSpPr>
        <p:spPr bwMode="auto">
          <a:xfrm>
            <a:off x="2133600" y="1828800"/>
            <a:ext cx="6248400" cy="406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Sustainable Sites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Water Efficiency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Energy and Atmosphere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Materials and Resources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Indoor Environmental Quality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Innovation in Design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Regional Priority</a:t>
            </a:r>
          </a:p>
        </p:txBody>
      </p:sp>
      <p:pic>
        <p:nvPicPr>
          <p:cNvPr id="17412" name="Picture 11" descr="http://3.bp.blogspot.com/_Y-bBG4gztZ4/SiUm-Jz3w-I/AAAAAAAAAFI/XmMBM9dihwY/s400/USGBC+leed+logo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86600" y="4773613"/>
            <a:ext cx="1828800" cy="185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6488113"/>
            <a:ext cx="5175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CH</a:t>
            </a:r>
          </a:p>
        </p:txBody>
      </p:sp>
    </p:spTree>
    <p:extLst>
      <p:ext uri="{BB962C8B-B14F-4D97-AF65-F5344CB8AC3E}">
        <p14:creationId xmlns:p14="http://schemas.microsoft.com/office/powerpoint/2010/main" val="1331321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Box 8"/>
          <p:cNvSpPr txBox="1">
            <a:spLocks noChangeArrowheads="1"/>
          </p:cNvSpPr>
          <p:nvPr/>
        </p:nvSpPr>
        <p:spPr bwMode="auto">
          <a:xfrm>
            <a:off x="2057400" y="1752600"/>
            <a:ext cx="6172200" cy="76993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i="1" dirty="0">
                <a:solidFill>
                  <a:srgbClr val="000000"/>
                </a:solidFill>
                <a:latin typeface="Arial" charset="0"/>
                <a:cs typeface="Arial" charset="0"/>
              </a:rPr>
              <a:t>…is smart, livable and sustainable manner by means of its leadership and policies.</a:t>
            </a:r>
          </a:p>
        </p:txBody>
      </p:sp>
      <p:sp>
        <p:nvSpPr>
          <p:cNvPr id="18435" name="Text Box 8"/>
          <p:cNvSpPr txBox="1">
            <a:spLocks noChangeArrowheads="1"/>
          </p:cNvSpPr>
          <p:nvPr/>
        </p:nvSpPr>
        <p:spPr bwMode="auto">
          <a:xfrm>
            <a:off x="2057400" y="2828925"/>
            <a:ext cx="6477000" cy="372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i="1" smtClean="0">
                <a:solidFill>
                  <a:srgbClr val="000000"/>
                </a:solidFill>
                <a:latin typeface="Arial" charset="0"/>
              </a:rPr>
              <a:t>Smart</a:t>
            </a:r>
            <a:r>
              <a:rPr lang="en-US" sz="2000" b="1" i="1" smtClean="0">
                <a:solidFill>
                  <a:srgbClr val="000000"/>
                </a:solidFill>
                <a:latin typeface="Arial" charset="0"/>
              </a:rPr>
              <a:t>… it maximizes resources and efficiencies by human and artificial operation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4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i="1" smtClean="0">
                <a:solidFill>
                  <a:srgbClr val="000000"/>
                </a:solidFill>
                <a:latin typeface="Arial" charset="0"/>
              </a:rPr>
              <a:t>Livable</a:t>
            </a:r>
            <a:r>
              <a:rPr lang="en-US" sz="2000" b="1" i="1" smtClean="0">
                <a:solidFill>
                  <a:srgbClr val="000000"/>
                </a:solidFill>
                <a:latin typeface="Arial" charset="0"/>
              </a:rPr>
              <a:t>… it makes sense for the population according to the needs of the locality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4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i="1" smtClean="0">
                <a:solidFill>
                  <a:srgbClr val="000000"/>
                </a:solidFill>
                <a:latin typeface="Arial" charset="0"/>
              </a:rPr>
              <a:t>Sustainable</a:t>
            </a:r>
            <a:r>
              <a:rPr lang="en-US" sz="2000" b="1" i="1" smtClean="0">
                <a:solidFill>
                  <a:srgbClr val="000000"/>
                </a:solidFill>
                <a:latin typeface="Arial" charset="0"/>
              </a:rPr>
              <a:t>… it has as long of life as the maximizing of  “resources and efficiencies” allow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4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i="1" smtClean="0">
                <a:solidFill>
                  <a:srgbClr val="000000"/>
                </a:solidFill>
                <a:latin typeface="Arial" charset="0"/>
              </a:rPr>
              <a:t>Leadership</a:t>
            </a:r>
            <a:r>
              <a:rPr lang="en-US" sz="2000" b="1" i="1" smtClean="0">
                <a:solidFill>
                  <a:srgbClr val="000000"/>
                </a:solidFill>
                <a:latin typeface="Arial" charset="0"/>
              </a:rPr>
              <a:t>… acting with common sense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4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i="1" smtClean="0">
                <a:solidFill>
                  <a:srgbClr val="000000"/>
                </a:solidFill>
                <a:latin typeface="Arial" charset="0"/>
              </a:rPr>
              <a:t>Policies</a:t>
            </a:r>
            <a:r>
              <a:rPr lang="en-US" sz="2000" b="1" i="1" smtClean="0">
                <a:solidFill>
                  <a:srgbClr val="000000"/>
                </a:solidFill>
                <a:latin typeface="Arial" charset="0"/>
              </a:rPr>
              <a:t>… based on individual and greater good.</a:t>
            </a:r>
          </a:p>
        </p:txBody>
      </p:sp>
      <p:sp>
        <p:nvSpPr>
          <p:cNvPr id="18436" name="Text Box 6"/>
          <p:cNvSpPr txBox="1">
            <a:spLocks noChangeArrowheads="1"/>
          </p:cNvSpPr>
          <p:nvPr/>
        </p:nvSpPr>
        <p:spPr bwMode="auto">
          <a:xfrm>
            <a:off x="2209800" y="304800"/>
            <a:ext cx="5867400" cy="1323975"/>
          </a:xfrm>
          <a:prstGeom prst="rect">
            <a:avLst/>
          </a:prstGeom>
          <a:solidFill>
            <a:srgbClr val="1D3B5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000" b="1" smtClean="0">
                <a:solidFill>
                  <a:srgbClr val="FFFFFF"/>
                </a:solidFill>
                <a:latin typeface="Arial" charset="0"/>
              </a:rPr>
              <a:t>A Vibrant, Growing and Green Community is…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139522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6"/>
          <p:cNvSpPr txBox="1">
            <a:spLocks noChangeArrowheads="1"/>
          </p:cNvSpPr>
          <p:nvPr/>
        </p:nvSpPr>
        <p:spPr bwMode="auto">
          <a:xfrm>
            <a:off x="2057400" y="609600"/>
            <a:ext cx="6302375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400" b="1" smtClean="0">
                <a:solidFill>
                  <a:srgbClr val="000000"/>
                </a:solidFill>
                <a:latin typeface="Arial" charset="0"/>
              </a:rPr>
              <a:t>What does it look like?</a:t>
            </a:r>
          </a:p>
        </p:txBody>
      </p:sp>
      <p:sp>
        <p:nvSpPr>
          <p:cNvPr id="19459" name="Text Box 8"/>
          <p:cNvSpPr txBox="1">
            <a:spLocks noChangeArrowheads="1"/>
          </p:cNvSpPr>
          <p:nvPr/>
        </p:nvSpPr>
        <p:spPr bwMode="auto">
          <a:xfrm>
            <a:off x="2133600" y="1981200"/>
            <a:ext cx="6248400" cy="409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A sustainable city is a city operated with consideration of cultural and environmental impact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2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It is inhabited by people dedicated to the minimization of required inputs (energy, water and food) and outputs (waste, heat and pollution)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2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It operates in a smart, livable and sustainable manner by means of its leadership and policie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2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It embraces the pillars of competitiveness, environment, quality of life and good governance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5175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CH</a:t>
            </a:r>
          </a:p>
        </p:txBody>
      </p:sp>
    </p:spTree>
    <p:extLst>
      <p:ext uri="{BB962C8B-B14F-4D97-AF65-F5344CB8AC3E}">
        <p14:creationId xmlns:p14="http://schemas.microsoft.com/office/powerpoint/2010/main" val="3828997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4" descr="Drawing of sample city" title="Solutions for sustainable cities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115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274638"/>
            <a:ext cx="8229600" cy="114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Just Like Broward County…</a:t>
            </a:r>
          </a:p>
        </p:txBody>
      </p:sp>
      <p:pic>
        <p:nvPicPr>
          <p:cNvPr id="21507" name="Picture 5" descr="shows environmental achievements" title="Just like Broward Count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62200" y="1905000"/>
            <a:ext cx="4953000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7A5C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2478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0070C0"/>
                </a:solidFill>
              </a:rPr>
              <a:t>Siemens’ Public-Private Partnerships</a:t>
            </a:r>
            <a:br>
              <a:rPr lang="en-US" b="1" dirty="0" smtClean="0">
                <a:solidFill>
                  <a:srgbClr val="0070C0"/>
                </a:solidFill>
              </a:rPr>
            </a:br>
            <a:r>
              <a:rPr lang="en-US" b="1" dirty="0" smtClean="0">
                <a:solidFill>
                  <a:srgbClr val="0070C0"/>
                </a:solidFill>
              </a:rPr>
              <a:t>in Sustainability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27237"/>
            <a:ext cx="8229600" cy="4525963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Daniel </a:t>
            </a:r>
            <a:r>
              <a:rPr lang="en-US" dirty="0" err="1" smtClean="0">
                <a:solidFill>
                  <a:srgbClr val="0070C0"/>
                </a:solidFill>
              </a:rPr>
              <a:t>Wishnick</a:t>
            </a:r>
            <a:endParaRPr lang="en-US" dirty="0" smtClean="0">
              <a:solidFill>
                <a:srgbClr val="0070C0"/>
              </a:solidFill>
            </a:endParaRPr>
          </a:p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Business Development for Cities</a:t>
            </a:r>
          </a:p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Siemens Industry, Inc.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43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6"/>
          <p:cNvSpPr txBox="1">
            <a:spLocks noChangeArrowheads="1"/>
          </p:cNvSpPr>
          <p:nvPr/>
        </p:nvSpPr>
        <p:spPr bwMode="auto">
          <a:xfrm>
            <a:off x="2209800" y="2286000"/>
            <a:ext cx="57150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000" b="1" smtClean="0">
                <a:solidFill>
                  <a:srgbClr val="000000"/>
                </a:solidFill>
                <a:latin typeface="Arial" charset="0"/>
              </a:rPr>
              <a:t>…A Vibrant, Growing and Green Community</a:t>
            </a:r>
          </a:p>
        </p:txBody>
      </p:sp>
      <p:sp>
        <p:nvSpPr>
          <p:cNvPr id="20483" name="TextBox 4" descr="Word art" title="Financials"/>
          <p:cNvSpPr txBox="1">
            <a:spLocks noChangeArrowheads="1"/>
          </p:cNvSpPr>
          <p:nvPr/>
        </p:nvSpPr>
        <p:spPr bwMode="auto">
          <a:xfrm rot="-2700000">
            <a:off x="1962150" y="2706688"/>
            <a:ext cx="5949950" cy="1323975"/>
          </a:xfrm>
          <a:prstGeom prst="rect">
            <a:avLst/>
          </a:prstGeom>
          <a:solidFill>
            <a:srgbClr val="0066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0" dirty="0" smtClean="0">
                <a:solidFill>
                  <a:srgbClr val="FFFFFF"/>
                </a:solidFill>
                <a:latin typeface="Stencil" pitchFamily="82" charset="0"/>
              </a:rPr>
              <a:t>Financial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3481843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4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48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4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04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6"/>
          <p:cNvSpPr txBox="1">
            <a:spLocks noGrp="1" noChangeArrowheads="1"/>
          </p:cNvSpPr>
          <p:nvPr>
            <p:ph type="title"/>
          </p:nvPr>
        </p:nvSpPr>
        <p:spPr bwMode="auto">
          <a:xfrm>
            <a:off x="1143000" y="274638"/>
            <a:ext cx="8229600" cy="114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3600" b="1" smtClean="0">
                <a:solidFill>
                  <a:schemeClr val="tx1"/>
                </a:solidFill>
                <a:latin typeface="Arial" charset="0"/>
                <a:cs typeface="Arial" charset="0"/>
              </a:rPr>
              <a:t>Challenges of a vibrant, </a:t>
            </a:r>
            <a:br>
              <a:rPr lang="en-US" sz="3600" b="1" smtClean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en-US" sz="3600" b="1" smtClean="0">
                <a:solidFill>
                  <a:schemeClr val="tx1"/>
                </a:solidFill>
                <a:latin typeface="Arial" charset="0"/>
                <a:cs typeface="Arial" charset="0"/>
              </a:rPr>
              <a:t>growing and green community…..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1143000" y="1600200"/>
            <a:ext cx="8229600" cy="4525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FontTx/>
              <a:buNone/>
            </a:pPr>
            <a:r>
              <a:rPr lang="en-US" sz="4000" b="1" smtClean="0">
                <a:latin typeface="Arial" charset="0"/>
              </a:rPr>
              <a:t>   </a:t>
            </a:r>
            <a:r>
              <a:rPr lang="en-US" sz="4000" b="1" i="1" smtClean="0">
                <a:latin typeface="Arial" charset="0"/>
              </a:rPr>
              <a:t>If energy conservation both saves money and is good for the planet, why don't people do more of it?</a:t>
            </a:r>
          </a:p>
          <a:p>
            <a:endParaRPr lang="en-US" sz="400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597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Box 6"/>
          <p:cNvSpPr txBox="1">
            <a:spLocks noChangeArrowheads="1"/>
          </p:cNvSpPr>
          <p:nvPr/>
        </p:nvSpPr>
        <p:spPr bwMode="auto">
          <a:xfrm>
            <a:off x="1905000" y="609600"/>
            <a:ext cx="35052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800" b="1" i="1" dirty="0">
                <a:solidFill>
                  <a:srgbClr val="FFFFFF">
                    <a:lumMod val="50000"/>
                  </a:srgbClr>
                </a:solidFill>
                <a:latin typeface="Arial" charset="0"/>
              </a:rPr>
              <a:t>Show me…</a:t>
            </a:r>
          </a:p>
        </p:txBody>
      </p:sp>
      <p:pic>
        <p:nvPicPr>
          <p:cNvPr id="24579" name="Picture 2" descr="actor" title="show me the mone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3600" y="2438400"/>
            <a:ext cx="6248400" cy="342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0" name="Picture 4" descr="actor" title="show me the money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4600" y="685800"/>
            <a:ext cx="2057400" cy="145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1" name="Text Box 6"/>
          <p:cNvSpPr txBox="1">
            <a:spLocks noChangeArrowheads="1"/>
          </p:cNvSpPr>
          <p:nvPr/>
        </p:nvSpPr>
        <p:spPr bwMode="auto">
          <a:xfrm>
            <a:off x="1905000" y="1143000"/>
            <a:ext cx="44577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0" b="1" smtClean="0">
                <a:solidFill>
                  <a:srgbClr val="006600"/>
                </a:solidFill>
                <a:latin typeface="Arial" charset="0"/>
              </a:rPr>
              <a:t>The Money!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6488113"/>
            <a:ext cx="5175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CH</a:t>
            </a:r>
          </a:p>
        </p:txBody>
      </p:sp>
    </p:spTree>
    <p:extLst>
      <p:ext uri="{BB962C8B-B14F-4D97-AF65-F5344CB8AC3E}">
        <p14:creationId xmlns:p14="http://schemas.microsoft.com/office/powerpoint/2010/main" val="1672950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8"/>
          <p:cNvSpPr txBox="1">
            <a:spLocks noChangeArrowheads="1"/>
          </p:cNvSpPr>
          <p:nvPr/>
        </p:nvSpPr>
        <p:spPr bwMode="auto">
          <a:xfrm>
            <a:off x="1981200" y="2438400"/>
            <a:ext cx="7010400" cy="301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200" b="1" smtClean="0">
                <a:solidFill>
                  <a:srgbClr val="000000"/>
                </a:solidFill>
                <a:latin typeface="Arial" charset="0"/>
              </a:rPr>
              <a:t>Financial Resources…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smtClean="0">
                <a:solidFill>
                  <a:srgbClr val="000000"/>
                </a:solidFill>
                <a:latin typeface="Arial" charset="0"/>
              </a:rPr>
              <a:t>  -Capital Dollars… Taxes or Bond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smtClean="0">
                <a:solidFill>
                  <a:srgbClr val="000000"/>
                </a:solidFill>
                <a:latin typeface="Arial" charset="0"/>
              </a:rPr>
              <a:t>  -Capital Contributions…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i="1" smtClean="0">
                <a:solidFill>
                  <a:srgbClr val="000000"/>
                </a:solidFill>
                <a:latin typeface="Arial" charset="0"/>
              </a:rPr>
              <a:t>    Federal (CDBG), State (CDBG) and Foundation Grants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smtClean="0">
                <a:solidFill>
                  <a:srgbClr val="000000"/>
                </a:solidFill>
                <a:latin typeface="Arial" charset="0"/>
              </a:rPr>
              <a:t>  -Operating Dollars… Redirecting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200" b="1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25603" name="Picture 4" descr="actor" title="the money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4600" y="685800"/>
            <a:ext cx="2057400" cy="145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4" name="Text Box 6"/>
          <p:cNvSpPr txBox="1">
            <a:spLocks noChangeArrowheads="1"/>
          </p:cNvSpPr>
          <p:nvPr/>
        </p:nvSpPr>
        <p:spPr bwMode="auto">
          <a:xfrm>
            <a:off x="1905000" y="904875"/>
            <a:ext cx="44577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000" b="1" smtClean="0">
                <a:solidFill>
                  <a:srgbClr val="006600"/>
                </a:solidFill>
                <a:latin typeface="Arial" charset="0"/>
              </a:rPr>
              <a:t>The Money!</a:t>
            </a:r>
          </a:p>
        </p:txBody>
      </p:sp>
    </p:spTree>
    <p:extLst>
      <p:ext uri="{BB962C8B-B14F-4D97-AF65-F5344CB8AC3E}">
        <p14:creationId xmlns:p14="http://schemas.microsoft.com/office/powerpoint/2010/main" val="2516186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ext Box 6"/>
          <p:cNvSpPr txBox="1">
            <a:spLocks noChangeArrowheads="1"/>
          </p:cNvSpPr>
          <p:nvPr/>
        </p:nvSpPr>
        <p:spPr bwMode="auto">
          <a:xfrm>
            <a:off x="2209800" y="2286000"/>
            <a:ext cx="57150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000" b="1" smtClean="0">
                <a:solidFill>
                  <a:srgbClr val="000000"/>
                </a:solidFill>
                <a:latin typeface="Arial" charset="0"/>
              </a:rPr>
              <a:t>…A Vibrant, Growing and Green Community</a:t>
            </a:r>
          </a:p>
        </p:txBody>
      </p:sp>
      <p:sp>
        <p:nvSpPr>
          <p:cNvPr id="24579" name="TextBox 4" descr="word art" title="Instrument"/>
          <p:cNvSpPr txBox="1">
            <a:spLocks noChangeArrowheads="1"/>
          </p:cNvSpPr>
          <p:nvPr/>
        </p:nvSpPr>
        <p:spPr bwMode="auto">
          <a:xfrm rot="-2700000">
            <a:off x="1647825" y="2706688"/>
            <a:ext cx="6580188" cy="1323975"/>
          </a:xfrm>
          <a:prstGeom prst="rect">
            <a:avLst/>
          </a:prstGeom>
          <a:solidFill>
            <a:srgbClr val="1D3B5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8000" dirty="0" smtClean="0">
                <a:solidFill>
                  <a:srgbClr val="FFFFFF"/>
                </a:solidFill>
                <a:latin typeface="Stencil" pitchFamily="82" charset="0"/>
              </a:rPr>
              <a:t>Instrumen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3546054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5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457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45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45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9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extBox 1"/>
          <p:cNvSpPr txBox="1">
            <a:spLocks noChangeArrowheads="1"/>
          </p:cNvSpPr>
          <p:nvPr/>
        </p:nvSpPr>
        <p:spPr bwMode="auto">
          <a:xfrm>
            <a:off x="2057400" y="769938"/>
            <a:ext cx="6340475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54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Florida Legisla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  <p:pic>
        <p:nvPicPr>
          <p:cNvPr id="27652" name="Picture 6" descr="Florida flag" title="Image of fla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3600" y="1905000"/>
            <a:ext cx="6057900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9831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4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Florida Process</a:t>
            </a:r>
          </a:p>
        </p:txBody>
      </p:sp>
      <p:pic>
        <p:nvPicPr>
          <p:cNvPr id="28675" name="Picture 6" descr="flow chart" title="florida statutes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1371600"/>
            <a:ext cx="4038600" cy="4800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676" name="Rectangle 5"/>
          <p:cNvSpPr>
            <a:spLocks noGrp="1" noChangeArrowheads="1"/>
          </p:cNvSpPr>
          <p:nvPr>
            <p:ph sz="half" idx="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2400" smtClean="0"/>
              <a:t>To provide a concise, easy to understand process, that labels each parties basic responsibilities for an Energy Performance Contract. All process steps must adhere to Florida Statues 489.145, 287.055, 255.05 and 287.057</a:t>
            </a:r>
          </a:p>
        </p:txBody>
      </p:sp>
    </p:spTree>
    <p:extLst>
      <p:ext uri="{BB962C8B-B14F-4D97-AF65-F5344CB8AC3E}">
        <p14:creationId xmlns:p14="http://schemas.microsoft.com/office/powerpoint/2010/main" val="1266588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8" descr="pay for the improvements" title="graph"/>
          <p:cNvSpPr>
            <a:spLocks noChangeArrowheads="1"/>
          </p:cNvSpPr>
          <p:nvPr/>
        </p:nvSpPr>
        <p:spPr bwMode="auto">
          <a:xfrm>
            <a:off x="539750" y="1600200"/>
            <a:ext cx="8604250" cy="46736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smtClean="0">
              <a:solidFill>
                <a:srgbClr val="000000"/>
              </a:solidFill>
            </a:endParaRPr>
          </a:p>
        </p:txBody>
      </p:sp>
      <p:sp>
        <p:nvSpPr>
          <p:cNvPr id="29699" name="Title 6"/>
          <p:cNvSpPr>
            <a:spLocks noGrp="1"/>
          </p:cNvSpPr>
          <p:nvPr>
            <p:ph type="title" idx="4294967295"/>
          </p:nvPr>
        </p:nvSpPr>
        <p:spPr>
          <a:xfrm>
            <a:off x="539750" y="263525"/>
            <a:ext cx="6488113" cy="808038"/>
          </a:xfrm>
        </p:spPr>
        <p:txBody>
          <a:bodyPr/>
          <a:lstStyle/>
          <a:p>
            <a:pPr eaLnBrk="1" hangingPunct="1"/>
            <a:r>
              <a:rPr lang="en-US" smtClean="0"/>
              <a:t>How Do We Pay for the Improvements?</a:t>
            </a:r>
          </a:p>
        </p:txBody>
      </p:sp>
      <p:cxnSp>
        <p:nvCxnSpPr>
          <p:cNvPr id="29700" name="Straight Arrow Connector 10"/>
          <p:cNvCxnSpPr>
            <a:cxnSpLocks noChangeShapeType="1"/>
          </p:cNvCxnSpPr>
          <p:nvPr/>
        </p:nvCxnSpPr>
        <p:spPr bwMode="auto">
          <a:xfrm flipV="1">
            <a:off x="1012825" y="1843088"/>
            <a:ext cx="0" cy="391160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701" name="Straight Arrow Connector 12"/>
          <p:cNvCxnSpPr>
            <a:cxnSpLocks noChangeShapeType="1"/>
          </p:cNvCxnSpPr>
          <p:nvPr/>
        </p:nvCxnSpPr>
        <p:spPr bwMode="auto">
          <a:xfrm>
            <a:off x="1012825" y="5754688"/>
            <a:ext cx="694690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702" name="TextBox 15"/>
          <p:cNvSpPr txBox="1">
            <a:spLocks noChangeArrowheads="1"/>
          </p:cNvSpPr>
          <p:nvPr/>
        </p:nvSpPr>
        <p:spPr bwMode="auto">
          <a:xfrm>
            <a:off x="7553325" y="1828800"/>
            <a:ext cx="11366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Arial" charset="0"/>
              </a:rPr>
              <a:t>Operating Costs</a:t>
            </a:r>
          </a:p>
        </p:txBody>
      </p:sp>
      <p:cxnSp>
        <p:nvCxnSpPr>
          <p:cNvPr id="29703" name="Straight Connector 17"/>
          <p:cNvCxnSpPr>
            <a:cxnSpLocks noChangeShapeType="1"/>
          </p:cNvCxnSpPr>
          <p:nvPr/>
        </p:nvCxnSpPr>
        <p:spPr bwMode="auto">
          <a:xfrm>
            <a:off x="2638425" y="3621088"/>
            <a:ext cx="0" cy="21336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704" name="Straight Connector 19"/>
          <p:cNvCxnSpPr>
            <a:cxnSpLocks noChangeShapeType="1"/>
          </p:cNvCxnSpPr>
          <p:nvPr/>
        </p:nvCxnSpPr>
        <p:spPr bwMode="auto">
          <a:xfrm>
            <a:off x="3330575" y="3398838"/>
            <a:ext cx="1588" cy="235585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705" name="Straight Connector 25"/>
          <p:cNvCxnSpPr>
            <a:cxnSpLocks noChangeShapeType="1"/>
          </p:cNvCxnSpPr>
          <p:nvPr/>
        </p:nvCxnSpPr>
        <p:spPr bwMode="auto">
          <a:xfrm>
            <a:off x="5978525" y="2630488"/>
            <a:ext cx="0" cy="31242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706" name="TextBox 27"/>
          <p:cNvSpPr txBox="1">
            <a:spLocks noChangeArrowheads="1"/>
          </p:cNvSpPr>
          <p:nvPr/>
        </p:nvSpPr>
        <p:spPr bwMode="auto">
          <a:xfrm>
            <a:off x="1012825" y="5754688"/>
            <a:ext cx="16256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solidFill>
                  <a:srgbClr val="000000"/>
                </a:solidFill>
                <a:latin typeface="Arial" charset="0"/>
              </a:rPr>
              <a:t>Current</a:t>
            </a:r>
          </a:p>
        </p:txBody>
      </p:sp>
      <p:sp>
        <p:nvSpPr>
          <p:cNvPr id="29707" name="TextBox 28"/>
          <p:cNvSpPr txBox="1">
            <a:spLocks noChangeArrowheads="1"/>
          </p:cNvSpPr>
          <p:nvPr/>
        </p:nvSpPr>
        <p:spPr bwMode="auto">
          <a:xfrm>
            <a:off x="2413000" y="5754688"/>
            <a:ext cx="11398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solidFill>
                  <a:srgbClr val="000000"/>
                </a:solidFill>
                <a:latin typeface="Arial" charset="0"/>
              </a:rPr>
              <a:t>During Construction</a:t>
            </a:r>
          </a:p>
        </p:txBody>
      </p:sp>
      <p:sp>
        <p:nvSpPr>
          <p:cNvPr id="29708" name="TextBox 29"/>
          <p:cNvSpPr txBox="1">
            <a:spLocks noChangeArrowheads="1"/>
          </p:cNvSpPr>
          <p:nvPr/>
        </p:nvSpPr>
        <p:spPr bwMode="auto">
          <a:xfrm>
            <a:off x="3889375" y="5754688"/>
            <a:ext cx="16700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solidFill>
                  <a:srgbClr val="000000"/>
                </a:solidFill>
                <a:latin typeface="Arial" charset="0"/>
              </a:rPr>
              <a:t>During Guarantee Period</a:t>
            </a:r>
          </a:p>
        </p:txBody>
      </p:sp>
      <p:sp>
        <p:nvSpPr>
          <p:cNvPr id="29709" name="TextBox 30"/>
          <p:cNvSpPr txBox="1">
            <a:spLocks noChangeArrowheads="1"/>
          </p:cNvSpPr>
          <p:nvPr/>
        </p:nvSpPr>
        <p:spPr bwMode="auto">
          <a:xfrm>
            <a:off x="5978525" y="5754688"/>
            <a:ext cx="16700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solidFill>
                  <a:srgbClr val="000000"/>
                </a:solidFill>
                <a:latin typeface="Arial" charset="0"/>
              </a:rPr>
              <a:t>After Guarantee / Finance Period</a:t>
            </a:r>
          </a:p>
        </p:txBody>
      </p:sp>
      <p:sp>
        <p:nvSpPr>
          <p:cNvPr id="29710" name="TextBox 32"/>
          <p:cNvSpPr txBox="1">
            <a:spLocks noChangeArrowheads="1"/>
          </p:cNvSpPr>
          <p:nvPr/>
        </p:nvSpPr>
        <p:spPr bwMode="auto">
          <a:xfrm>
            <a:off x="7553325" y="3254375"/>
            <a:ext cx="14732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336699"/>
                </a:solidFill>
                <a:latin typeface="Arial" charset="0"/>
              </a:rPr>
              <a:t>Operating Costs with PC</a:t>
            </a:r>
          </a:p>
        </p:txBody>
      </p:sp>
      <p:sp>
        <p:nvSpPr>
          <p:cNvPr id="29711" name="Freeform 36"/>
          <p:cNvSpPr>
            <a:spLocks/>
          </p:cNvSpPr>
          <p:nvPr/>
        </p:nvSpPr>
        <p:spPr bwMode="auto">
          <a:xfrm>
            <a:off x="2638425" y="3398838"/>
            <a:ext cx="692150" cy="1009650"/>
          </a:xfrm>
          <a:custGeom>
            <a:avLst/>
            <a:gdLst>
              <a:gd name="T0" fmla="*/ 0 w 1691216"/>
              <a:gd name="T1" fmla="*/ 5640386 h 752475"/>
              <a:gd name="T2" fmla="*/ 4 w 1691216"/>
              <a:gd name="T3" fmla="*/ 10865611 h 752475"/>
              <a:gd name="T4" fmla="*/ 10 w 1691216"/>
              <a:gd name="T5" fmla="*/ 16595737 h 752475"/>
              <a:gd name="T6" fmla="*/ 15 w 1691216"/>
              <a:gd name="T7" fmla="*/ 20271653 h 752475"/>
              <a:gd name="T8" fmla="*/ 22 w 1691216"/>
              <a:gd name="T9" fmla="*/ 23839460 h 752475"/>
              <a:gd name="T10" fmla="*/ 28 w 1691216"/>
              <a:gd name="T11" fmla="*/ 25136867 h 752475"/>
              <a:gd name="T12" fmla="*/ 34 w 1691216"/>
              <a:gd name="T13" fmla="*/ 25623393 h 752475"/>
              <a:gd name="T14" fmla="*/ 37 w 1691216"/>
              <a:gd name="T15" fmla="*/ 25623393 h 752475"/>
              <a:gd name="T16" fmla="*/ 37 w 1691216"/>
              <a:gd name="T17" fmla="*/ 0 h 752475"/>
              <a:gd name="T18" fmla="*/ 0 w 1691216"/>
              <a:gd name="T19" fmla="*/ 5640386 h 75247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691216"/>
              <a:gd name="T31" fmla="*/ 0 h 752475"/>
              <a:gd name="T32" fmla="*/ 1691216 w 1691216"/>
              <a:gd name="T33" fmla="*/ 752475 h 75247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691216" h="752475">
                <a:moveTo>
                  <a:pt x="0" y="165639"/>
                </a:moveTo>
                <a:cubicBezTo>
                  <a:pt x="93823" y="216788"/>
                  <a:pt x="110067" y="267938"/>
                  <a:pt x="165100" y="319087"/>
                </a:cubicBezTo>
                <a:lnTo>
                  <a:pt x="457200" y="487362"/>
                </a:lnTo>
                <a:lnTo>
                  <a:pt x="692150" y="595312"/>
                </a:lnTo>
                <a:lnTo>
                  <a:pt x="1003300" y="700087"/>
                </a:lnTo>
                <a:lnTo>
                  <a:pt x="1282700" y="738187"/>
                </a:lnTo>
                <a:lnTo>
                  <a:pt x="1524000" y="752475"/>
                </a:lnTo>
                <a:lnTo>
                  <a:pt x="1689100" y="752475"/>
                </a:lnTo>
                <a:cubicBezTo>
                  <a:pt x="1686983" y="402696"/>
                  <a:pt x="1691217" y="349779"/>
                  <a:pt x="1689100" y="0"/>
                </a:cubicBezTo>
                <a:lnTo>
                  <a:pt x="0" y="165639"/>
                </a:lnTo>
                <a:close/>
              </a:path>
            </a:pathLst>
          </a:cu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712" name="TextBox 40"/>
          <p:cNvSpPr txBox="1">
            <a:spLocks noChangeArrowheads="1"/>
          </p:cNvSpPr>
          <p:nvPr/>
        </p:nvSpPr>
        <p:spPr bwMode="auto">
          <a:xfrm>
            <a:off x="4222750" y="3502025"/>
            <a:ext cx="9779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charset="0"/>
              </a:rPr>
              <a:t>Program payments</a:t>
            </a:r>
          </a:p>
        </p:txBody>
      </p:sp>
      <p:sp>
        <p:nvSpPr>
          <p:cNvPr id="29713" name="Freeform 41"/>
          <p:cNvSpPr>
            <a:spLocks/>
          </p:cNvSpPr>
          <p:nvPr/>
        </p:nvSpPr>
        <p:spPr bwMode="auto">
          <a:xfrm>
            <a:off x="3330575" y="2630488"/>
            <a:ext cx="2647950" cy="1119187"/>
          </a:xfrm>
          <a:custGeom>
            <a:avLst/>
            <a:gdLst>
              <a:gd name="T0" fmla="*/ 0 w 2659884"/>
              <a:gd name="T1" fmla="*/ 785802 h 1119188"/>
              <a:gd name="T2" fmla="*/ 0 w 2659884"/>
              <a:gd name="T3" fmla="*/ 1119178 h 1119188"/>
              <a:gd name="T4" fmla="*/ 2520155 w 2659884"/>
              <a:gd name="T5" fmla="*/ 419100 h 1119188"/>
              <a:gd name="T6" fmla="*/ 2520155 w 2659884"/>
              <a:gd name="T7" fmla="*/ 0 h 1119188"/>
              <a:gd name="T8" fmla="*/ 0 w 2659884"/>
              <a:gd name="T9" fmla="*/ 785802 h 111918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59884"/>
              <a:gd name="T16" fmla="*/ 0 h 1119188"/>
              <a:gd name="T17" fmla="*/ 2659884 w 2659884"/>
              <a:gd name="T18" fmla="*/ 1119188 h 111918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59884" h="1119188">
                <a:moveTo>
                  <a:pt x="0" y="785812"/>
                </a:moveTo>
                <a:lnTo>
                  <a:pt x="0" y="1119188"/>
                </a:lnTo>
                <a:lnTo>
                  <a:pt x="2659672" y="419100"/>
                </a:lnTo>
                <a:cubicBezTo>
                  <a:pt x="2659884" y="256117"/>
                  <a:pt x="2659460" y="162983"/>
                  <a:pt x="2659672" y="0"/>
                </a:cubicBezTo>
                <a:lnTo>
                  <a:pt x="0" y="785812"/>
                </a:lnTo>
                <a:close/>
              </a:path>
            </a:pathLst>
          </a:cu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714" name="TextBox 42"/>
          <p:cNvSpPr txBox="1">
            <a:spLocks noChangeArrowheads="1"/>
          </p:cNvSpPr>
          <p:nvPr/>
        </p:nvSpPr>
        <p:spPr bwMode="auto">
          <a:xfrm rot="-863301">
            <a:off x="4089400" y="3114675"/>
            <a:ext cx="11318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solidFill>
                  <a:srgbClr val="FFFFFF"/>
                </a:solidFill>
                <a:latin typeface="Arial" charset="0"/>
              </a:rPr>
              <a:t>Excess savings</a:t>
            </a:r>
          </a:p>
        </p:txBody>
      </p:sp>
      <p:sp>
        <p:nvSpPr>
          <p:cNvPr id="29715" name="Freeform 44"/>
          <p:cNvSpPr>
            <a:spLocks/>
          </p:cNvSpPr>
          <p:nvPr/>
        </p:nvSpPr>
        <p:spPr bwMode="auto">
          <a:xfrm>
            <a:off x="5978525" y="2238375"/>
            <a:ext cx="1339850" cy="1614488"/>
          </a:xfrm>
          <a:custGeom>
            <a:avLst/>
            <a:gdLst>
              <a:gd name="T0" fmla="*/ 268 w 1448587"/>
              <a:gd name="T1" fmla="*/ 390957 h 1615181"/>
              <a:gd name="T2" fmla="*/ 268 w 1448587"/>
              <a:gd name="T3" fmla="*/ 1607573 h 1615181"/>
              <a:gd name="T4" fmla="*/ 568183 w 1448587"/>
              <a:gd name="T5" fmla="*/ 1305790 h 1615181"/>
              <a:gd name="T6" fmla="*/ 568183 w 1448587"/>
              <a:gd name="T7" fmla="*/ 0 h 1615181"/>
              <a:gd name="T8" fmla="*/ 268 w 1448587"/>
              <a:gd name="T9" fmla="*/ 390957 h 16151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48587"/>
              <a:gd name="T16" fmla="*/ 0 h 1615181"/>
              <a:gd name="T17" fmla="*/ 1448587 w 1448587"/>
              <a:gd name="T18" fmla="*/ 1615181 h 161518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48587" h="1615181">
                <a:moveTo>
                  <a:pt x="684" y="392806"/>
                </a:moveTo>
                <a:cubicBezTo>
                  <a:pt x="1367" y="804669"/>
                  <a:pt x="0" y="1203318"/>
                  <a:pt x="683" y="1615181"/>
                </a:cubicBezTo>
                <a:lnTo>
                  <a:pt x="1448587" y="1311969"/>
                </a:lnTo>
                <a:lnTo>
                  <a:pt x="1448587" y="0"/>
                </a:lnTo>
                <a:lnTo>
                  <a:pt x="684" y="392806"/>
                </a:lnTo>
                <a:close/>
              </a:path>
            </a:pathLst>
          </a:cu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716" name="TextBox 45"/>
          <p:cNvSpPr txBox="1">
            <a:spLocks noChangeArrowheads="1"/>
          </p:cNvSpPr>
          <p:nvPr/>
        </p:nvSpPr>
        <p:spPr bwMode="auto">
          <a:xfrm>
            <a:off x="6199188" y="2917825"/>
            <a:ext cx="9779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b="1" smtClean="0">
                <a:solidFill>
                  <a:srgbClr val="FFFFFF"/>
                </a:solidFill>
                <a:latin typeface="Arial" charset="0"/>
              </a:rPr>
              <a:t>Savings</a:t>
            </a:r>
          </a:p>
        </p:txBody>
      </p:sp>
      <p:cxnSp>
        <p:nvCxnSpPr>
          <p:cNvPr id="29717" name="Straight Arrow Connector 14"/>
          <p:cNvCxnSpPr>
            <a:cxnSpLocks noChangeShapeType="1"/>
          </p:cNvCxnSpPr>
          <p:nvPr/>
        </p:nvCxnSpPr>
        <p:spPr bwMode="auto">
          <a:xfrm flipV="1">
            <a:off x="1012825" y="2160588"/>
            <a:ext cx="6591300" cy="191770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718" name="Freeform 31"/>
          <p:cNvSpPr>
            <a:spLocks/>
          </p:cNvSpPr>
          <p:nvPr/>
        </p:nvSpPr>
        <p:spPr bwMode="auto">
          <a:xfrm>
            <a:off x="2638425" y="3494088"/>
            <a:ext cx="4975225" cy="922337"/>
          </a:xfrm>
          <a:custGeom>
            <a:avLst/>
            <a:gdLst>
              <a:gd name="T0" fmla="*/ 34378 w 5184819"/>
              <a:gd name="T1" fmla="*/ 10160300 h 656923"/>
              <a:gd name="T2" fmla="*/ 6155 w 5184819"/>
              <a:gd name="T3" fmla="*/ 4685715 h 656923"/>
              <a:gd name="T4" fmla="*/ 6155 w 5184819"/>
              <a:gd name="T5" fmla="*/ 5932969 h 656923"/>
              <a:gd name="T6" fmla="*/ 54215 w 5184819"/>
              <a:gd name="T7" fmla="*/ 15000586 h 656923"/>
              <a:gd name="T8" fmla="*/ 127916 w 5184819"/>
              <a:gd name="T9" fmla="*/ 24038135 h 656923"/>
              <a:gd name="T10" fmla="*/ 152915 w 5184819"/>
              <a:gd name="T11" fmla="*/ 27112872 h 656923"/>
              <a:gd name="T12" fmla="*/ 238229 w 5184819"/>
              <a:gd name="T13" fmla="*/ 33982851 h 656923"/>
              <a:gd name="T14" fmla="*/ 186943 w 5184819"/>
              <a:gd name="T15" fmla="*/ 30069568 h 656923"/>
              <a:gd name="T16" fmla="*/ 285643 w 5184819"/>
              <a:gd name="T17" fmla="*/ 36436648 h 656923"/>
              <a:gd name="T18" fmla="*/ 371440 w 5184819"/>
              <a:gd name="T19" fmla="*/ 38209198 h 656923"/>
              <a:gd name="T20" fmla="*/ 439064 w 5184819"/>
              <a:gd name="T21" fmla="*/ 38504639 h 656923"/>
              <a:gd name="T22" fmla="*/ 3160342 w 5184819"/>
              <a:gd name="T23" fmla="*/ 0 h 6569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184819"/>
              <a:gd name="T37" fmla="*/ 0 h 656923"/>
              <a:gd name="T38" fmla="*/ 5184819 w 5184819"/>
              <a:gd name="T39" fmla="*/ 656923 h 6569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184819" h="656923">
                <a:moveTo>
                  <a:pt x="56400" y="173122"/>
                </a:moveTo>
                <a:cubicBezTo>
                  <a:pt x="56356" y="172833"/>
                  <a:pt x="17815" y="91845"/>
                  <a:pt x="10098" y="79840"/>
                </a:cubicBezTo>
                <a:cubicBezTo>
                  <a:pt x="2381" y="67835"/>
                  <a:pt x="0" y="83604"/>
                  <a:pt x="10098" y="101092"/>
                </a:cubicBezTo>
                <a:cubicBezTo>
                  <a:pt x="45552" y="111382"/>
                  <a:pt x="55651" y="204180"/>
                  <a:pt x="88944" y="255596"/>
                </a:cubicBezTo>
                <a:cubicBezTo>
                  <a:pt x="122237" y="307012"/>
                  <a:pt x="182869" y="375191"/>
                  <a:pt x="209857" y="409588"/>
                </a:cubicBezTo>
                <a:cubicBezTo>
                  <a:pt x="236845" y="443985"/>
                  <a:pt x="220707" y="433737"/>
                  <a:pt x="250870" y="461978"/>
                </a:cubicBezTo>
                <a:cubicBezTo>
                  <a:pt x="281033" y="490219"/>
                  <a:pt x="381530" y="570640"/>
                  <a:pt x="390834" y="579037"/>
                </a:cubicBezTo>
                <a:cubicBezTo>
                  <a:pt x="400138" y="587434"/>
                  <a:pt x="293732" y="505390"/>
                  <a:pt x="306696" y="512358"/>
                </a:cubicBezTo>
                <a:cubicBezTo>
                  <a:pt x="319661" y="519326"/>
                  <a:pt x="418174" y="597732"/>
                  <a:pt x="468621" y="620847"/>
                </a:cubicBezTo>
                <a:cubicBezTo>
                  <a:pt x="519068" y="643962"/>
                  <a:pt x="567429" y="645177"/>
                  <a:pt x="609379" y="651050"/>
                </a:cubicBezTo>
                <a:cubicBezTo>
                  <a:pt x="651329" y="656923"/>
                  <a:pt x="705751" y="654310"/>
                  <a:pt x="720323" y="656084"/>
                </a:cubicBezTo>
                <a:lnTo>
                  <a:pt x="5184819" y="0"/>
                </a:lnTo>
              </a:path>
            </a:pathLst>
          </a:custGeom>
          <a:noFill/>
          <a:ln w="19050" cap="flat" cmpd="sng" algn="ctr">
            <a:solidFill>
              <a:srgbClr val="336699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719" name="TextBox 1"/>
          <p:cNvSpPr txBox="1">
            <a:spLocks noChangeArrowheads="1"/>
          </p:cNvSpPr>
          <p:nvPr/>
        </p:nvSpPr>
        <p:spPr bwMode="auto">
          <a:xfrm rot="-5400000">
            <a:off x="-1060450" y="3708400"/>
            <a:ext cx="3786188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Arial" charset="0"/>
              </a:rPr>
              <a:t>Costs</a:t>
            </a:r>
          </a:p>
        </p:txBody>
      </p:sp>
      <p:sp>
        <p:nvSpPr>
          <p:cNvPr id="29720" name="TextBox 2"/>
          <p:cNvSpPr txBox="1">
            <a:spLocks noChangeArrowheads="1"/>
          </p:cNvSpPr>
          <p:nvPr/>
        </p:nvSpPr>
        <p:spPr bwMode="auto">
          <a:xfrm>
            <a:off x="8040688" y="5602288"/>
            <a:ext cx="8413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Arial" charset="0"/>
              </a:rPr>
              <a:t>Time</a:t>
            </a:r>
          </a:p>
        </p:txBody>
      </p:sp>
      <p:sp>
        <p:nvSpPr>
          <p:cNvPr id="29721" name="TextBox 37"/>
          <p:cNvSpPr txBox="1">
            <a:spLocks noChangeArrowheads="1"/>
          </p:cNvSpPr>
          <p:nvPr/>
        </p:nvSpPr>
        <p:spPr bwMode="auto">
          <a:xfrm>
            <a:off x="2025650" y="2887663"/>
            <a:ext cx="9779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  <a:latin typeface="Arial" charset="0"/>
              </a:rPr>
              <a:t>Immediate savings</a:t>
            </a:r>
          </a:p>
        </p:txBody>
      </p:sp>
      <p:cxnSp>
        <p:nvCxnSpPr>
          <p:cNvPr id="29722" name="Straight Arrow Connector 29"/>
          <p:cNvCxnSpPr>
            <a:cxnSpLocks noChangeShapeType="1"/>
          </p:cNvCxnSpPr>
          <p:nvPr/>
        </p:nvCxnSpPr>
        <p:spPr bwMode="auto">
          <a:xfrm>
            <a:off x="2628900" y="3349625"/>
            <a:ext cx="374650" cy="50323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9723" name="Rectangle 169"/>
          <p:cNvSpPr>
            <a:spLocks noChangeArrowheads="1"/>
          </p:cNvSpPr>
          <p:nvPr/>
        </p:nvSpPr>
        <p:spPr bwMode="auto">
          <a:xfrm>
            <a:off x="539750" y="6488113"/>
            <a:ext cx="87788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00"/>
                </a:solidFill>
              </a:rPr>
              <a:t>Page </a:t>
            </a:r>
            <a:fld id="{CDA86C1F-DD13-4BF2-AF94-D1924DF976A9}" type="slidenum">
              <a:rPr lang="en-US" sz="12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en-US" sz="1200" smtClean="0">
              <a:solidFill>
                <a:srgbClr val="000000"/>
              </a:solidFill>
            </a:endParaRPr>
          </a:p>
        </p:txBody>
      </p:sp>
      <p:sp>
        <p:nvSpPr>
          <p:cNvPr id="29724" name="Rectangle 27"/>
          <p:cNvSpPr>
            <a:spLocks noChangeArrowheads="1"/>
          </p:cNvSpPr>
          <p:nvPr/>
        </p:nvSpPr>
        <p:spPr bwMode="auto">
          <a:xfrm>
            <a:off x="904875" y="5000625"/>
            <a:ext cx="209550" cy="2095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2000" smtClean="0">
              <a:solidFill>
                <a:srgbClr val="000000"/>
              </a:solidFill>
            </a:endParaRPr>
          </a:p>
        </p:txBody>
      </p:sp>
      <p:grpSp>
        <p:nvGrpSpPr>
          <p:cNvPr id="29725" name="Group 45"/>
          <p:cNvGrpSpPr>
            <a:grpSpLocks/>
          </p:cNvGrpSpPr>
          <p:nvPr/>
        </p:nvGrpSpPr>
        <p:grpSpPr bwMode="auto">
          <a:xfrm>
            <a:off x="1012825" y="4995863"/>
            <a:ext cx="46038" cy="63500"/>
            <a:chOff x="649612" y="5398137"/>
            <a:chExt cx="45897" cy="63549"/>
          </a:xfrm>
        </p:grpSpPr>
        <p:cxnSp>
          <p:nvCxnSpPr>
            <p:cNvPr id="29727" name="Straight Connector 41"/>
            <p:cNvCxnSpPr>
              <a:cxnSpLocks noChangeShapeType="1"/>
            </p:cNvCxnSpPr>
            <p:nvPr/>
          </p:nvCxnSpPr>
          <p:spPr bwMode="auto">
            <a:xfrm>
              <a:off x="649612" y="5398137"/>
              <a:ext cx="45897" cy="63549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728" name="Straight Connector 43"/>
            <p:cNvCxnSpPr>
              <a:cxnSpLocks noChangeShapeType="1"/>
            </p:cNvCxnSpPr>
            <p:nvPr/>
          </p:nvCxnSpPr>
          <p:spPr bwMode="auto">
            <a:xfrm flipH="1">
              <a:off x="649612" y="5461685"/>
              <a:ext cx="42366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Group 46"/>
          <p:cNvGrpSpPr/>
          <p:nvPr/>
        </p:nvGrpSpPr>
        <p:grpSpPr>
          <a:xfrm>
            <a:off x="972608" y="5147930"/>
            <a:ext cx="45897" cy="63549"/>
            <a:chOff x="649612" y="5398137"/>
            <a:chExt cx="45897" cy="63549"/>
          </a:xfrm>
          <a:scene3d>
            <a:camera prst="orthographicFront">
              <a:rot lat="10800000" lon="10800000" rev="0"/>
            </a:camera>
            <a:lightRig rig="threePt" dir="t"/>
          </a:scene3d>
        </p:grpSpPr>
        <p:cxnSp>
          <p:nvCxnSpPr>
            <p:cNvPr id="48" name="Straight Connector 47"/>
            <p:cNvCxnSpPr/>
            <p:nvPr/>
          </p:nvCxnSpPr>
          <p:spPr bwMode="auto">
            <a:xfrm>
              <a:off x="649612" y="5398137"/>
              <a:ext cx="45897" cy="63549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 bwMode="auto">
            <a:xfrm flipH="1">
              <a:off x="649612" y="5461685"/>
              <a:ext cx="42366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8961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ext Box 6"/>
          <p:cNvSpPr txBox="1">
            <a:spLocks noChangeArrowheads="1"/>
          </p:cNvSpPr>
          <p:nvPr/>
        </p:nvSpPr>
        <p:spPr bwMode="auto">
          <a:xfrm>
            <a:off x="2124075" y="457200"/>
            <a:ext cx="54641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400" b="1" smtClean="0">
                <a:solidFill>
                  <a:srgbClr val="000000"/>
                </a:solidFill>
                <a:latin typeface="Arial" charset="0"/>
              </a:rPr>
              <a:t>Potential for Florida</a:t>
            </a:r>
          </a:p>
        </p:txBody>
      </p:sp>
      <p:sp>
        <p:nvSpPr>
          <p:cNvPr id="30723" name="Text Box 8"/>
          <p:cNvSpPr txBox="1">
            <a:spLocks noChangeArrowheads="1"/>
          </p:cNvSpPr>
          <p:nvPr/>
        </p:nvSpPr>
        <p:spPr bwMode="auto">
          <a:xfrm>
            <a:off x="3810000" y="1924050"/>
            <a:ext cx="4648200" cy="440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State and local government facilities are wasting </a:t>
            </a:r>
            <a:r>
              <a:rPr lang="en-US" sz="2000" b="1" smtClean="0">
                <a:solidFill>
                  <a:srgbClr val="C00000"/>
                </a:solidFill>
                <a:latin typeface="Arial" charset="0"/>
                <a:cs typeface="Arial" charset="0"/>
              </a:rPr>
              <a:t>$250,000,000 </a:t>
            </a: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per year in energy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 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2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Savings from redirecting wasted energy dollars could fund </a:t>
            </a:r>
            <a:r>
              <a:rPr lang="en-US" sz="2000" b="1" smtClean="0">
                <a:solidFill>
                  <a:srgbClr val="C00000"/>
                </a:solidFill>
                <a:latin typeface="Arial" charset="0"/>
                <a:cs typeface="Arial" charset="0"/>
              </a:rPr>
              <a:t>$1,400,000,000 </a:t>
            </a: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in projects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 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2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The $1,400,000,000 would create </a:t>
            </a:r>
            <a:r>
              <a:rPr lang="en-US" sz="2000" b="1" smtClean="0">
                <a:solidFill>
                  <a:srgbClr val="C00000"/>
                </a:solidFill>
                <a:latin typeface="Arial" charset="0"/>
                <a:cs typeface="Arial" charset="0"/>
              </a:rPr>
              <a:t>17,000</a:t>
            </a: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 direct jobs in engineering, construction, and manufacturing.  Plus </a:t>
            </a:r>
            <a:r>
              <a:rPr lang="en-US" sz="2000" b="1" smtClean="0">
                <a:solidFill>
                  <a:srgbClr val="C00000"/>
                </a:solidFill>
                <a:latin typeface="Arial" charset="0"/>
                <a:cs typeface="Arial" charset="0"/>
              </a:rPr>
              <a:t>20,000</a:t>
            </a: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 indirect jobs.</a:t>
            </a:r>
          </a:p>
        </p:txBody>
      </p:sp>
      <p:sp>
        <p:nvSpPr>
          <p:cNvPr id="30724" name="TextBox 4"/>
          <p:cNvSpPr txBox="1">
            <a:spLocks noChangeArrowheads="1"/>
          </p:cNvSpPr>
          <p:nvPr/>
        </p:nvSpPr>
        <p:spPr bwMode="auto">
          <a:xfrm>
            <a:off x="2133600" y="1066800"/>
            <a:ext cx="57800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i="1" smtClean="0">
                <a:solidFill>
                  <a:srgbClr val="C00000"/>
                </a:solidFill>
                <a:latin typeface="Arial" charset="0"/>
                <a:cs typeface="Arial" charset="0"/>
              </a:rPr>
              <a:t>National Association of Energy Service Compani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  <p:pic>
        <p:nvPicPr>
          <p:cNvPr id="30726" name="Picture 2" descr="construction workers" title="phot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52600" y="3344863"/>
            <a:ext cx="1981200" cy="1303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4" descr="retail worker" title="phot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52600" y="4813300"/>
            <a:ext cx="1981200" cy="143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8" name="Picture 6" descr="city at night with lights on" title="phot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58950" y="1828800"/>
            <a:ext cx="197485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2722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 Box 6"/>
          <p:cNvSpPr txBox="1">
            <a:spLocks noChangeArrowheads="1"/>
          </p:cNvSpPr>
          <p:nvPr/>
        </p:nvSpPr>
        <p:spPr bwMode="auto">
          <a:xfrm>
            <a:off x="2133600" y="228600"/>
            <a:ext cx="546417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400" b="1" smtClean="0">
                <a:solidFill>
                  <a:srgbClr val="000000"/>
                </a:solidFill>
                <a:latin typeface="Arial" charset="0"/>
              </a:rPr>
              <a:t>Potential for Florida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</a:rPr>
              <a:t>Year 2010 Experience</a:t>
            </a:r>
          </a:p>
        </p:txBody>
      </p:sp>
      <p:sp>
        <p:nvSpPr>
          <p:cNvPr id="31747" name="Text Box 8"/>
          <p:cNvSpPr txBox="1">
            <a:spLocks noChangeArrowheads="1"/>
          </p:cNvSpPr>
          <p:nvPr/>
        </p:nvSpPr>
        <p:spPr bwMode="auto">
          <a:xfrm>
            <a:off x="3810000" y="1924050"/>
            <a:ext cx="4648200" cy="253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In 2010, $121M in project investment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 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2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1400 job years created 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2000" b="1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smtClean="0">
                <a:solidFill>
                  <a:srgbClr val="000000"/>
                </a:solidFill>
                <a:latin typeface="Arial" charset="0"/>
                <a:cs typeface="Arial" charset="0"/>
              </a:rPr>
              <a:t>…Over 1M MMBTU of energy saved and 18,000 tons of carbon avoided</a:t>
            </a:r>
          </a:p>
        </p:txBody>
      </p:sp>
      <p:sp>
        <p:nvSpPr>
          <p:cNvPr id="31748" name="TextBox 4"/>
          <p:cNvSpPr txBox="1">
            <a:spLocks noChangeArrowheads="1"/>
          </p:cNvSpPr>
          <p:nvPr/>
        </p:nvSpPr>
        <p:spPr bwMode="auto">
          <a:xfrm>
            <a:off x="2133600" y="1143000"/>
            <a:ext cx="57340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800" b="1" i="1" smtClean="0">
                <a:solidFill>
                  <a:srgbClr val="C00000"/>
                </a:solidFill>
                <a:latin typeface="Arial" charset="0"/>
                <a:cs typeface="Arial" charset="0"/>
              </a:rPr>
              <a:t>National Association of Energy Service Compani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  <p:pic>
        <p:nvPicPr>
          <p:cNvPr id="31751" name="Picture 4" descr="retail store worker" title="phot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52600" y="4813300"/>
            <a:ext cx="1981200" cy="143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city at night with lights on" title="phot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58950" y="1828800"/>
            <a:ext cx="1974850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onstruction workers" title="phot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52600" y="3344863"/>
            <a:ext cx="1981200" cy="1303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987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0" descr="title screen" title="future green cit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8800" y="457200"/>
            <a:ext cx="7010400" cy="601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Text Box 6"/>
          <p:cNvSpPr txBox="1">
            <a:spLocks noChangeArrowheads="1"/>
          </p:cNvSpPr>
          <p:nvPr/>
        </p:nvSpPr>
        <p:spPr bwMode="auto">
          <a:xfrm>
            <a:off x="2438400" y="685800"/>
            <a:ext cx="5715000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…A Vibrant, Growing and Green Community</a:t>
            </a:r>
          </a:p>
        </p:txBody>
      </p:sp>
      <p:sp>
        <p:nvSpPr>
          <p:cNvPr id="4099" name="Text Box 6"/>
          <p:cNvSpPr txBox="1">
            <a:spLocks noChangeArrowheads="1"/>
          </p:cNvSpPr>
          <p:nvPr/>
        </p:nvSpPr>
        <p:spPr bwMode="auto">
          <a:xfrm>
            <a:off x="6096000" y="5322888"/>
            <a:ext cx="26670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Dan Wishnick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363788" y="1981200"/>
            <a:ext cx="5637212" cy="4000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i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ublic-Private Partnerships in Sustainability </a:t>
            </a: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6172200" y="5648325"/>
            <a:ext cx="26670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SIEMENS</a:t>
            </a:r>
          </a:p>
        </p:txBody>
      </p:sp>
    </p:spTree>
    <p:extLst>
      <p:ext uri="{BB962C8B-B14F-4D97-AF65-F5344CB8AC3E}">
        <p14:creationId xmlns:p14="http://schemas.microsoft.com/office/powerpoint/2010/main" val="2892400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274638"/>
            <a:ext cx="8229600" cy="114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Broward County Experience….</a:t>
            </a:r>
          </a:p>
        </p:txBody>
      </p:sp>
      <p:pic>
        <p:nvPicPr>
          <p:cNvPr id="32771" name="Picture 5" descr="funding, staff time, complexity of issue and ogranizational priorities" title="Obstacles to developing program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38288" y="2667000"/>
            <a:ext cx="7605712" cy="259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7A5C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77527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 Box 6"/>
          <p:cNvSpPr txBox="1">
            <a:spLocks noChangeArrowheads="1"/>
          </p:cNvSpPr>
          <p:nvPr/>
        </p:nvSpPr>
        <p:spPr bwMode="auto">
          <a:xfrm>
            <a:off x="2209800" y="2286000"/>
            <a:ext cx="57150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000" b="1" smtClean="0">
                <a:solidFill>
                  <a:srgbClr val="000000"/>
                </a:solidFill>
                <a:latin typeface="Arial" charset="0"/>
              </a:rPr>
              <a:t>…A Vibrant, Growing and Green Community</a:t>
            </a:r>
          </a:p>
        </p:txBody>
      </p:sp>
      <p:sp>
        <p:nvSpPr>
          <p:cNvPr id="5" name="TextBox 4" descr="word art" title="summary"/>
          <p:cNvSpPr txBox="1"/>
          <p:nvPr/>
        </p:nvSpPr>
        <p:spPr>
          <a:xfrm rot="-2700000">
            <a:off x="2425700" y="2706688"/>
            <a:ext cx="5024438" cy="132397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0" dirty="0">
                <a:solidFill>
                  <a:srgbClr val="FFFFFF"/>
                </a:solidFill>
                <a:latin typeface="Stencil" pitchFamily="82" charset="0"/>
              </a:rPr>
              <a:t>SUMMAR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557601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ext Box 6"/>
          <p:cNvSpPr txBox="1">
            <a:spLocks noChangeArrowheads="1"/>
          </p:cNvSpPr>
          <p:nvPr/>
        </p:nvSpPr>
        <p:spPr bwMode="auto">
          <a:xfrm>
            <a:off x="2362200" y="685800"/>
            <a:ext cx="57150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000" b="1" smtClean="0">
                <a:solidFill>
                  <a:srgbClr val="000000"/>
                </a:solidFill>
                <a:latin typeface="Arial" charset="0"/>
              </a:rPr>
              <a:t>…A Vibrant, Growing and Green Community</a:t>
            </a:r>
          </a:p>
        </p:txBody>
      </p:sp>
      <p:sp>
        <p:nvSpPr>
          <p:cNvPr id="34819" name="Text Box 6"/>
          <p:cNvSpPr txBox="1">
            <a:spLocks noChangeArrowheads="1"/>
          </p:cNvSpPr>
          <p:nvPr/>
        </p:nvSpPr>
        <p:spPr bwMode="auto">
          <a:xfrm>
            <a:off x="2514600" y="2533650"/>
            <a:ext cx="5715000" cy="280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it’s dynamic and moving rapidly with vigor and energy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it’s thriving and developing  to reach maturity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it’s sustaining itself 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5175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CH</a:t>
            </a:r>
          </a:p>
        </p:txBody>
      </p:sp>
    </p:spTree>
    <p:extLst>
      <p:ext uri="{BB962C8B-B14F-4D97-AF65-F5344CB8AC3E}">
        <p14:creationId xmlns:p14="http://schemas.microsoft.com/office/powerpoint/2010/main" val="34818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2362200" y="382588"/>
            <a:ext cx="5705475" cy="144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800" b="1" dirty="0">
                <a:solidFill>
                  <a:srgbClr val="00CC99">
                    <a:lumMod val="50000"/>
                  </a:srgbClr>
                </a:solidFill>
                <a:latin typeface="Arial" charset="0"/>
                <a:cs typeface="Arial" charset="0"/>
              </a:rPr>
              <a:t>Question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  <p:pic>
        <p:nvPicPr>
          <p:cNvPr id="35844" name="Picture 6" descr="Picture of Florida beach" title="Florid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1200" y="1866900"/>
            <a:ext cx="6638925" cy="461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1345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0070C0"/>
                </a:solidFill>
              </a:rPr>
              <a:t>Waste Management’s Investment</a:t>
            </a:r>
            <a:br>
              <a:rPr lang="en-US" b="1" dirty="0" smtClean="0">
                <a:solidFill>
                  <a:srgbClr val="0070C0"/>
                </a:solidFill>
              </a:rPr>
            </a:br>
            <a:r>
              <a:rPr lang="en-US" b="1" dirty="0" smtClean="0">
                <a:solidFill>
                  <a:srgbClr val="0070C0"/>
                </a:solidFill>
              </a:rPr>
              <a:t>in Renewable Energy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27237"/>
            <a:ext cx="8229600" cy="4525963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John Albert</a:t>
            </a:r>
          </a:p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Government Affairs Manager</a:t>
            </a:r>
          </a:p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Waste Management, Inc.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107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Grp="1" noChangeArrowheads="1"/>
          </p:cNvSpPr>
          <p:nvPr>
            <p:ph type="ctrTitle" idx="4294967295"/>
          </p:nvPr>
        </p:nvSpPr>
        <p:spPr>
          <a:xfrm>
            <a:off x="533400" y="3414338"/>
            <a:ext cx="8001000" cy="2086725"/>
          </a:xfrm>
        </p:spPr>
        <p:txBody>
          <a:bodyPr anchor="ctr"/>
          <a:lstStyle/>
          <a:p>
            <a:pPr eaLnBrk="1" hangingPunct="1"/>
            <a:r>
              <a:rPr lang="en-US" b="1" dirty="0" smtClean="0"/>
              <a:t>More Efficiently Managing </a:t>
            </a:r>
            <a:r>
              <a:rPr lang="en-US" sz="2400" b="1" dirty="0" smtClean="0"/>
              <a:t>Public Space Waste &amp; Recycling Collection through Information and the Software-Enabled BigBelly System</a:t>
            </a:r>
            <a:br>
              <a:rPr lang="en-US" sz="2400" b="1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November</a:t>
            </a:r>
            <a:r>
              <a:rPr lang="en-US" sz="2400" dirty="0" smtClean="0"/>
              <a:t> 2011</a:t>
            </a:r>
            <a:endParaRPr lang="en-US" sz="1800" b="1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4953000" y="609600"/>
            <a:ext cx="34004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i="1" dirty="0" smtClean="0">
                <a:solidFill>
                  <a:srgbClr val="808080">
                    <a:lumMod val="75000"/>
                  </a:srgbClr>
                </a:solidFill>
                <a:ea typeface="ＭＳ Ｐゴシック" pitchFamily="34" charset="-128"/>
              </a:rPr>
              <a:t>The Smart Grid for</a:t>
            </a:r>
            <a:br>
              <a:rPr lang="en-US" sz="2000" i="1" dirty="0" smtClean="0">
                <a:solidFill>
                  <a:srgbClr val="808080">
                    <a:lumMod val="75000"/>
                  </a:srgbClr>
                </a:solidFill>
                <a:ea typeface="ＭＳ Ｐゴシック" pitchFamily="34" charset="-128"/>
              </a:rPr>
            </a:br>
            <a:r>
              <a:rPr lang="en-US" sz="2000" i="1" dirty="0" smtClean="0">
                <a:solidFill>
                  <a:srgbClr val="808080">
                    <a:lumMod val="75000"/>
                  </a:srgbClr>
                </a:solidFill>
                <a:ea typeface="ＭＳ Ｐゴシック" pitchFamily="34" charset="-128"/>
              </a:rPr>
              <a:t>       Waste and Recycling </a:t>
            </a:r>
            <a:r>
              <a:rPr lang="en-US" sz="2000" i="1" baseline="30000" dirty="0" smtClean="0">
                <a:solidFill>
                  <a:srgbClr val="808080">
                    <a:lumMod val="75000"/>
                  </a:srgbClr>
                </a:solidFill>
                <a:ea typeface="ＭＳ Ｐゴシック" pitchFamily="34" charset="-128"/>
              </a:rPr>
              <a:t>TM</a:t>
            </a:r>
            <a:endParaRPr lang="en-US" sz="2000" i="1" baseline="30000" dirty="0">
              <a:solidFill>
                <a:srgbClr val="808080">
                  <a:lumMod val="75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9735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2362200" y="381001"/>
            <a:ext cx="6477000" cy="757130"/>
          </a:xfrm>
        </p:spPr>
        <p:txBody>
          <a:bodyPr/>
          <a:lstStyle/>
          <a:p>
            <a:r>
              <a:rPr lang="en-US" dirty="0" smtClean="0">
                <a:ea typeface="ＭＳ Ｐゴシック" pitchFamily="34" charset="-128"/>
              </a:rPr>
              <a:t>The full “system costs” of trash collection can be surprisingly high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57200" y="1676400"/>
            <a:ext cx="66738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u="sng" dirty="0" smtClean="0">
                <a:solidFill>
                  <a:srgbClr val="000000"/>
                </a:solidFill>
                <a:ea typeface="ＭＳ Ｐゴシック" pitchFamily="34" charset="-128"/>
              </a:rPr>
              <a:t>Average annual collection costs ($ per trash bin per year)</a:t>
            </a:r>
            <a:endParaRPr lang="en-US" sz="2000" u="sng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3083" name="Picture 11" descr="overflowing in parks" title="garbage can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67000" y="2133600"/>
            <a:ext cx="1763776" cy="2362200"/>
          </a:xfrm>
          <a:prstGeom prst="rect">
            <a:avLst/>
          </a:prstGeom>
          <a:noFill/>
        </p:spPr>
      </p:pic>
      <p:pic>
        <p:nvPicPr>
          <p:cNvPr id="3085" name="Picture 13" descr="overflowing can" title="garbage ca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2133600"/>
            <a:ext cx="1769025" cy="2362200"/>
          </a:xfrm>
          <a:prstGeom prst="rect">
            <a:avLst/>
          </a:prstGeom>
          <a:noFill/>
        </p:spPr>
      </p:pic>
      <p:pic>
        <p:nvPicPr>
          <p:cNvPr id="3086" name="Picture 14" descr="overflowing at colleges" title="garbage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8000" y="2133600"/>
            <a:ext cx="1767713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88" name="Picture 16" descr="Transit stops" title="Trash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0600" y="2133600"/>
            <a:ext cx="1726226" cy="2362200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762000" y="4572000"/>
            <a:ext cx="13773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</a:rPr>
              <a:t>City Street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</a:rPr>
              <a:t>$2,005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065097" y="4572000"/>
            <a:ext cx="8899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</a:rPr>
              <a:t>Park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</a:rPr>
              <a:t>$1,785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876800" y="4572000"/>
            <a:ext cx="15354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</a:rPr>
              <a:t>Transit Stop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</a:rPr>
              <a:t>$1,850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147252" y="4572000"/>
            <a:ext cx="10823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</a:rPr>
              <a:t>College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</a:rPr>
              <a:t>$1,630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33400" y="5638800"/>
            <a:ext cx="8234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</a:rPr>
              <a:t>Route length/density </a:t>
            </a:r>
            <a:r>
              <a:rPr lang="en-US" dirty="0" smtClean="0">
                <a:solidFill>
                  <a:srgbClr val="000000"/>
                </a:solidFill>
                <a:ea typeface="ＭＳ Ｐゴシック" pitchFamily="34" charset="-128"/>
                <a:sym typeface="Wingdings" pitchFamily="2" charset="2"/>
              </a:rPr>
              <a:t> - Vehicle costs - Fuel - Collection frequency - Staff costs</a:t>
            </a: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57200" y="6230779"/>
            <a:ext cx="32672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Note: Based on BigBelly Solar collection cost analyses</a:t>
            </a:r>
            <a:endParaRPr lang="en-US" sz="10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20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le 1"/>
          <p:cNvSpPr>
            <a:spLocks noGrp="1"/>
          </p:cNvSpPr>
          <p:nvPr>
            <p:ph type="title"/>
          </p:nvPr>
        </p:nvSpPr>
        <p:spPr>
          <a:xfrm>
            <a:off x="2362200" y="381001"/>
            <a:ext cx="6477000" cy="757130"/>
          </a:xfrm>
        </p:spPr>
        <p:txBody>
          <a:bodyPr/>
          <a:lstStyle/>
          <a:p>
            <a:r>
              <a:rPr lang="en-US" dirty="0" smtClean="0">
                <a:ea typeface="ＭＳ Ｐゴシック" pitchFamily="34" charset="-128"/>
              </a:rPr>
              <a:t>Without information, overflow &amp; litter risks are (mostly) buffered by </a:t>
            </a:r>
            <a:r>
              <a:rPr lang="en-US" i="1" dirty="0" smtClean="0">
                <a:ea typeface="ＭＳ Ｐゴシック" pitchFamily="34" charset="-128"/>
              </a:rPr>
              <a:t>over-resourcing</a:t>
            </a:r>
            <a:r>
              <a:rPr lang="en-US" dirty="0" smtClean="0">
                <a:ea typeface="ＭＳ Ｐゴシック" pitchFamily="34" charset="-128"/>
              </a:rPr>
              <a:t> …</a:t>
            </a:r>
          </a:p>
        </p:txBody>
      </p:sp>
      <p:graphicFrame>
        <p:nvGraphicFramePr>
          <p:cNvPr id="25" name="Chart 24"/>
          <p:cNvGraphicFramePr/>
          <p:nvPr/>
        </p:nvGraphicFramePr>
        <p:xfrm>
          <a:off x="769905" y="1969610"/>
          <a:ext cx="54864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7010400" y="3074205"/>
            <a:ext cx="15087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Route collection </a:t>
            </a:r>
            <a:b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frequency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7239000" y="2234625"/>
            <a:ext cx="125867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Still have</a:t>
            </a:r>
            <a:b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unpredictable</a:t>
            </a:r>
            <a:b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overflows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239000" y="1701225"/>
            <a:ext cx="14189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Excessiv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collections, </a:t>
            </a:r>
            <a:r>
              <a:rPr lang="en-US" sz="1400" u="sng" dirty="0" smtClean="0">
                <a:solidFill>
                  <a:srgbClr val="000000"/>
                </a:solidFill>
                <a:ea typeface="ＭＳ Ｐゴシック" pitchFamily="34" charset="-128"/>
              </a:rPr>
              <a:t>and</a:t>
            </a:r>
            <a:endParaRPr lang="en-US" sz="1400" u="sng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cxnSp>
        <p:nvCxnSpPr>
          <p:cNvPr id="45" name="Straight Arrow Connector 44"/>
          <p:cNvCxnSpPr/>
          <p:nvPr/>
        </p:nvCxnSpPr>
        <p:spPr bwMode="auto">
          <a:xfrm flipV="1">
            <a:off x="1066800" y="2762202"/>
            <a:ext cx="0" cy="4572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6" name="Straight Arrow Connector 45"/>
          <p:cNvCxnSpPr/>
          <p:nvPr/>
        </p:nvCxnSpPr>
        <p:spPr bwMode="auto">
          <a:xfrm flipH="1">
            <a:off x="1066800" y="3219402"/>
            <a:ext cx="0" cy="4572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8" name="TextBox 47"/>
          <p:cNvSpPr txBox="1"/>
          <p:nvPr/>
        </p:nvSpPr>
        <p:spPr>
          <a:xfrm>
            <a:off x="228600" y="3752802"/>
            <a:ext cx="14670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Was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Resources (red)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28600" y="1931205"/>
            <a:ext cx="147829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Still get “dinged”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despite over-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resourcing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2133600" y="3198570"/>
            <a:ext cx="4267200" cy="1536200"/>
          </a:xfrm>
          <a:prstGeom prst="rect">
            <a:avLst/>
          </a:prstGeom>
          <a:solidFill>
            <a:srgbClr val="FF0000">
              <a:alpha val="74902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graphicFrame>
        <p:nvGraphicFramePr>
          <p:cNvPr id="24" name="Chart 23" descr="collection requirements per location" title="chart"/>
          <p:cNvGraphicFramePr/>
          <p:nvPr>
            <p:extLst>
              <p:ext uri="{D42A27DB-BD31-4B8C-83A1-F6EECF244321}">
                <p14:modId xmlns:p14="http://schemas.microsoft.com/office/powerpoint/2010/main" val="386980713"/>
              </p:ext>
            </p:extLst>
          </p:nvPr>
        </p:nvGraphicFramePr>
        <p:xfrm>
          <a:off x="1998865" y="2161635"/>
          <a:ext cx="4531790" cy="27267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Oval 43"/>
          <p:cNvSpPr/>
          <p:nvPr/>
        </p:nvSpPr>
        <p:spPr bwMode="auto">
          <a:xfrm>
            <a:off x="5416910" y="2929736"/>
            <a:ext cx="576075" cy="268834"/>
          </a:xfrm>
          <a:prstGeom prst="ellips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cxnSp>
        <p:nvCxnSpPr>
          <p:cNvPr id="54" name="Straight Arrow Connector 53"/>
          <p:cNvCxnSpPr>
            <a:endCxn id="44" idx="7"/>
          </p:cNvCxnSpPr>
          <p:nvPr/>
        </p:nvCxnSpPr>
        <p:spPr bwMode="auto">
          <a:xfrm flipH="1">
            <a:off x="5908621" y="2430470"/>
            <a:ext cx="1236514" cy="53863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56" name="Straight Arrow Connector 55"/>
          <p:cNvCxnSpPr>
            <a:endCxn id="66" idx="6"/>
          </p:cNvCxnSpPr>
          <p:nvPr/>
        </p:nvCxnSpPr>
        <p:spPr bwMode="auto">
          <a:xfrm flipH="1">
            <a:off x="3880710" y="2392065"/>
            <a:ext cx="3264426" cy="6720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58" name="Straight Arrow Connector 57"/>
          <p:cNvCxnSpPr/>
          <p:nvPr/>
        </p:nvCxnSpPr>
        <p:spPr bwMode="auto">
          <a:xfrm flipH="1">
            <a:off x="2651750" y="2392065"/>
            <a:ext cx="4493385" cy="61448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2" name="Straight Arrow Connector 61"/>
          <p:cNvCxnSpPr/>
          <p:nvPr/>
        </p:nvCxnSpPr>
        <p:spPr bwMode="auto">
          <a:xfrm flipH="1">
            <a:off x="5916175" y="4197100"/>
            <a:ext cx="115215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3" name="TextBox 62"/>
          <p:cNvSpPr txBox="1"/>
          <p:nvPr/>
        </p:nvSpPr>
        <p:spPr>
          <a:xfrm>
            <a:off x="7221945" y="4018988"/>
            <a:ext cx="102143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Required</a:t>
            </a:r>
            <a:b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collections</a:t>
            </a:r>
            <a:b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(black)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cxnSp>
        <p:nvCxnSpPr>
          <p:cNvPr id="27" name="Straight Connector 26"/>
          <p:cNvCxnSpPr/>
          <p:nvPr/>
        </p:nvCxnSpPr>
        <p:spPr bwMode="auto">
          <a:xfrm>
            <a:off x="990600" y="3219402"/>
            <a:ext cx="59436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Oval 65"/>
          <p:cNvSpPr/>
          <p:nvPr/>
        </p:nvSpPr>
        <p:spPr bwMode="auto">
          <a:xfrm>
            <a:off x="3304635" y="2929736"/>
            <a:ext cx="576075" cy="268834"/>
          </a:xfrm>
          <a:prstGeom prst="ellips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67" name="Oval 66"/>
          <p:cNvSpPr/>
          <p:nvPr/>
        </p:nvSpPr>
        <p:spPr bwMode="auto">
          <a:xfrm>
            <a:off x="2114080" y="2929735"/>
            <a:ext cx="576075" cy="268834"/>
          </a:xfrm>
          <a:prstGeom prst="ellips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6799490" y="1777585"/>
            <a:ext cx="460860" cy="345645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53955" y="5349250"/>
            <a:ext cx="6874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Enormous resource buffer of trucks, bins and staffs is (</a:t>
            </a:r>
            <a:r>
              <a:rPr lang="en-US" sz="1600" dirty="0" err="1" smtClean="0">
                <a:solidFill>
                  <a:srgbClr val="000000"/>
                </a:solidFill>
                <a:ea typeface="ＭＳ Ｐゴシック" pitchFamily="34" charset="-128"/>
              </a:rPr>
              <a:t>mis</a:t>
            </a: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)applied based on peak loads, given the lack of </a:t>
            </a:r>
            <a:r>
              <a:rPr lang="en-US" sz="1600" i="1" dirty="0" smtClean="0">
                <a:solidFill>
                  <a:srgbClr val="000000"/>
                </a:solidFill>
                <a:ea typeface="ＭＳ Ｐゴシック" pitchFamily="34" charset="-128"/>
              </a:rPr>
              <a:t>actionable information </a:t>
            </a: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– tremendous opportunity for more focused and efficient resource utilization</a:t>
            </a:r>
            <a:endParaRPr lang="en-US" sz="16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74614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3390" y="381000"/>
            <a:ext cx="6587945" cy="1089529"/>
          </a:xfrm>
        </p:spPr>
        <p:txBody>
          <a:bodyPr/>
          <a:lstStyle/>
          <a:p>
            <a:r>
              <a:rPr lang="en-US" dirty="0" smtClean="0"/>
              <a:t>Leveraging the power of the BigBelly Solar</a:t>
            </a:r>
            <a:br>
              <a:rPr lang="en-US" dirty="0" smtClean="0"/>
            </a:br>
            <a:r>
              <a:rPr lang="en-US" i="1" dirty="0" smtClean="0"/>
              <a:t>Smart Grid for Waste &amp; Recycling </a:t>
            </a:r>
            <a:r>
              <a:rPr lang="en-US" i="1" baseline="30000" dirty="0" smtClean="0"/>
              <a:t>TM</a:t>
            </a:r>
            <a:r>
              <a:rPr lang="en-US" dirty="0" smtClean="0"/>
              <a:t> to dramatically improve operations performance</a:t>
            </a:r>
            <a:endParaRPr lang="en-US" i="1" baseline="30000" dirty="0"/>
          </a:p>
        </p:txBody>
      </p:sp>
      <p:graphicFrame>
        <p:nvGraphicFramePr>
          <p:cNvPr id="14" name="Chart 13" descr="collection requirements per location before" title="chart"/>
          <p:cNvGraphicFramePr/>
          <p:nvPr>
            <p:extLst>
              <p:ext uri="{D42A27DB-BD31-4B8C-83A1-F6EECF244321}">
                <p14:modId xmlns:p14="http://schemas.microsoft.com/office/powerpoint/2010/main" val="3089242601"/>
              </p:ext>
            </p:extLst>
          </p:nvPr>
        </p:nvGraphicFramePr>
        <p:xfrm>
          <a:off x="533400" y="2209800"/>
          <a:ext cx="3810000" cy="327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6" name="Straight Connector 15"/>
          <p:cNvCxnSpPr/>
          <p:nvPr/>
        </p:nvCxnSpPr>
        <p:spPr bwMode="auto">
          <a:xfrm>
            <a:off x="457200" y="3581400"/>
            <a:ext cx="381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4" name="Chart 33" descr="collection requirements per location after" title="chart"/>
          <p:cNvGraphicFramePr/>
          <p:nvPr>
            <p:extLst>
              <p:ext uri="{D42A27DB-BD31-4B8C-83A1-F6EECF244321}">
                <p14:modId xmlns:p14="http://schemas.microsoft.com/office/powerpoint/2010/main" val="2657850931"/>
              </p:ext>
            </p:extLst>
          </p:nvPr>
        </p:nvGraphicFramePr>
        <p:xfrm>
          <a:off x="4800600" y="2209800"/>
          <a:ext cx="3733800" cy="327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5" name="Straight Connector 34"/>
          <p:cNvCxnSpPr/>
          <p:nvPr/>
        </p:nvCxnSpPr>
        <p:spPr bwMode="auto">
          <a:xfrm>
            <a:off x="4724400" y="4849985"/>
            <a:ext cx="381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Down Arrow 35"/>
          <p:cNvSpPr/>
          <p:nvPr/>
        </p:nvSpPr>
        <p:spPr bwMode="auto">
          <a:xfrm>
            <a:off x="4800600" y="3582620"/>
            <a:ext cx="457200" cy="1228960"/>
          </a:xfrm>
          <a:prstGeom prst="downArrow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39475" y="5656490"/>
            <a:ext cx="810350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Reduced overall collection levels - AND - shaved off peaks (overflows)</a:t>
            </a:r>
          </a:p>
          <a:p>
            <a:pPr marL="174625" indent="-1746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Nimble adjustments, leveraging the power of visibility and control, as patterns change</a:t>
            </a:r>
            <a:endParaRPr lang="en-US" sz="16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567590" y="4449875"/>
            <a:ext cx="11272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Route collection </a:t>
            </a:r>
            <a:br>
              <a:rPr lang="en-US" sz="1000" dirty="0" smtClean="0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frequency</a:t>
            </a:r>
            <a:endParaRPr lang="en-US" sz="10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14080" y="3220915"/>
            <a:ext cx="11272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Route collection </a:t>
            </a:r>
            <a:br>
              <a:rPr lang="en-US" sz="1000" dirty="0" smtClean="0">
                <a:solidFill>
                  <a:srgbClr val="000000"/>
                </a:solidFill>
                <a:ea typeface="ＭＳ Ｐゴシック" pitchFamily="34" charset="-128"/>
              </a:rPr>
            </a:br>
            <a:r>
              <a:rPr lang="en-US" sz="1000" dirty="0" smtClean="0">
                <a:solidFill>
                  <a:srgbClr val="000000"/>
                </a:solidFill>
                <a:ea typeface="ＭＳ Ｐゴシック" pitchFamily="34" charset="-128"/>
              </a:rPr>
              <a:t>frequency</a:t>
            </a:r>
            <a:endParaRPr lang="en-US" sz="10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32099" y="3736240"/>
            <a:ext cx="10550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  <a:ea typeface="ＭＳ Ｐゴシック" pitchFamily="34" charset="-128"/>
              </a:rPr>
              <a:t>70 - 80+ %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9780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AutoShape 9" descr="data:image/jpg;base64,/9j/4AAQSkZJRgABAQAAAQABAAD/2wCEAAkGBhMSERUUExQWFRQWGCEZGRgYGCAfIBwbIB8gHB8bHR4iHCYiHBsjHB0aHy8gIycpLCwsGh8xNTAqNSYsLCkBCQoKDgwOGg8PGjAkHyQvLCwsLCwvLSwsLSosLCwsLCwvLCosKSkpLDAsKiwsLi8sNCwpNCwsLDQsLiwuLCwsLP/AABEIALQA8AMBIgACEQEDEQH/xAAbAAACAwEBAQAAAAAAAAAAAAAEBQIDBgABB//EAEQQAAIBAgQEBQIDBgQEBAcBAAECEQMhAAQSMQUiQVEGEzJhcUKBUpGhFCNisdHwFXKCwTNT4fEHQ2NzFoOSosLS4iT/xAAaAQADAQEBAQAAAAAAAAAAAAAAAQMEAgUG/8QANREAAQIDBQYEBQQDAQAAAAAAAQACAxEhBBIxQfBRYYGRobETccHRBSIjMuEUQmLxUoKyM//aAAwDAQACEQMRAD8AxTZhKlN6VQFRvSIuVOyrJ7TAJtBYbxjJV6La4PKQb+x7/GNPmiVBogHWSPOURdgTpCxchd/c9JXB58O+ZTZlIqVqe0C1WmLNo/EQxIkWkQLMMTC+dhWhtmqcDqfkfztljVrxFjpPL/8At95iMPeGVyaepXIJPlOQYuDqpt8SB/YwhzkBuS/Y/wC/z0wRwZSW0A2eENx1MKfs/XscC9CPDD4d7WvVbXi9UZrSyIWetTC1I2Vp0OI6mdFybR3NsPnMgaRKt6hIb/MCQQfYFTtv743tGn5KOjfu4MljBuIWo/vcqUUDudwSMp4qps1c1nUqtSKmkyL+lhB7Mp/PDXlfDYl1/ht+3L0GzDsvOA6nQ3Kqj3YCblRAG1yUtMAbnbDXxSaKq2kHzDVkEzzLpckgyQRqIGqwJFhAum4dxhkWpTQjS0amibDUthIBs+223ScR8R1AWsZJ0sSTLGUk6u1zAFsJajBc60gmgylwx4qjhGaSm0ldTFSAIBuylZv21f0jBHFc+yqAOUFQCoMnSecA9Im8b9ycLsrl2YnSLQBMG0x/Mg4t4qJPqk7ERERYfoP5Ya2OhtMYE62KOR1gki0C83uZH57/AJe2Cc6pCXe7E2Ag2I95gmN+xx3B6ckkliILW1Rq+kcoPW/xOAqzaqhIETYT09z12/ngT+6IdyZcF4DVqkMBAbUAzkxb1HrsDcmBvexwf4m1BkoALSEBZ1yAvqkwJEzrbcn9MXf4stDKj94zMQQqSsBenKUkajJN7AG4LRizg3A62s1a6szyHeWGvbWF5rAn1NNwB0i63rzXxnXzGiyAE7o2nbXZ3wxVVLhdCjzayqiStTWJgD1QDGomdKjr1gSM3XZqj7lmNlBvYdT7Dv8AODON8R8+r6QFBhYQLPay7dgJMAb4ecN8O5cKG8yZEMdYWGn0wRZQPUxi+0QJFZsT9O3xIpJcePVS4JSNKgWdVakxklSoY6TcQw5kG9vzk8q7jXifzk8tAAguzEAS14CgWVQLAC5i5gCBuNcTNVymtfLUaQVXTrUHlAXoL7W7mTi7L+GKgI1aZUTobZJJsxjTrtOmfm4gGC5bChsPjR5XjUDWfLLOS7w5kqbuvmqQhuqzGs78x6Ajr+qrLY1GYSjSRmqaFN9DKijmIkLSCNeJQyZUBjBEyyHN+JBSTyqQLFvWriSz3B1TIAHQLewkyMJOH0GrVNMy5tBsoEdTtHt/MmMNTfZ3xyYrzdb6enWfQS4lxJ6kAsSo2BJIA7faTc+8Ri3h/A6hadLbatIu0d4iQPsT2B3w7o+D9EurAkEc5QhSYk+WZIaDtME9NOJ1vENGgoFKRUIOs/XM/juEUiDyjV0M74FQ2qbfDswnw77PfYmS6DSVSUAEfuy4pw5WCzMG0ssjVJlhYEjbCTxFxWmQqUjqK2BjlAgcqSodlBkgsALmAd8I83naldyxMXmAAB+Q2PzhgPC9YquqKeqAA7BWaesGCF92Kie+BcMssOA4Pivrsy3+ffakb1DqOokk+/5fPx/LBuXyLC7jtuNuonsd/URPY4c8H4CdYX/hGDdgS5i5CrEzE2GnY3ODl4nQoLpVCVaC2toduoKqJWlBuGMn3wTWiLbK3ITZnXDvwRHDR5VDUgCKy6XdQVqBpm7XLKQLRoUn4wZ5aU01tK0nkaa3KzD6SmkElpO6pIm5vOMS3iGohlGZTIMzckbH8NjtY/OKsxxJ6hJJZi1y03Ii2pjPWbT7DAsh+HRHOm4yBx26GR6I/Ncd0WpqZ/E/5GEFv/qLfGA6vEK1XmqOxi0sSSB2A6D8sMeD+HmqxMKpvqflFheD1+ADjW0fCFFBBV6zQDaUS+xtLH7wD7YAJhOLa7NZjdlN3XrQJBw+mUQ1k1G4FOsNl1TqDdSxsoPSfxRLSsugM41o1JfL06hKvpkxBtTGokgdwNzZD4e8QtQJEeZTeddI2VvcdFaPz/UEZTix1iruEBFPoA2rVpqdSuokyZJMT3KUI8CLfMxTvu3dqzFZhLeMcFKSxtMaoPoZgCJ9mBE9icKsu4EnoBf42j+v5423F6lKsNVFTqqiKlMmBTYXYHvr+n3JgSwAyfGMj+zuFDBwQGVhsym0+3VTPYHAt9jtBiNuP+7Z5Y/jbjXFajJZ58wi16nPB0tcQGVOZ9OxZqUQTYFScKPFmYapoBYFVLaTETqhie5QkCCd7nrhRSz+nlk6SQfYkXUkbWuPhjhtxVzVy1OqQDphDcSQssurtKNAUfgk7YM1w2zeBGa6QlOQ3aw/tKuGUC7GWCqASSTE2Biekxvg7jTFKQUKFB0naD6Wg94Mk37ffC/hWWapVREALEkQTAFjcn9Z9saHxHlgMvTN2IZUDk29LWC/lzX23OA4rRGeGx2tOeWvL2SjgylngyVDcygwIUE3MjqevvgbPZcrVKsBqVtJEiAfta3WMaHhFdVyuokMtM6mUDSJZoAJHM2oJ02wu8OJrrazTBUkydMhdVzp2AYLMTJ2wLkRiHRHkUbTjr0xXZ/ONTpKUIVnGyCNIgrG5+m/+qd8A5CoRqaREbnex6XEEn8r4M4tnKmYrleYokgKCCFEgE2tew/LF+czrMVoowQlRqaBG0QAq+wUdT9zgQwlrACBM1NcByrrFV5HL18wVYgmnJCHYEgiTcyQsi3sBi/xHxdi3kp5qqCVOosWM2IMkmSdxJ3AvEkbOZ0UqQpUmXUTzEM0jaB0iO8mSSbWxdwnKtQLVXZlCg3UhtxETeJm7fYXwKZAn4jgKTutwnvz7I7hPh1F52rKTplpsFFyULTK2F3jrAnqv4tn6udqimgBGyoDJ22mxCgDrtuZMnFGZ4m+ZK0iVSmDYlYgHYuRJCgDbb2640OWpUctSDVFEFoNVfU0X0hZBWBBGkxcaiDgUXF0F3iRPmeftEsO0+/dL8h4c8o68xAUHcGVt9C35ZgjW1u3uFnPEB1AUDoRRAZuYraORioaYsCb9oGDBWzGec0aepaRIIDQPYGo8AEiIA77Cb4cZXwPToDVmWXSPrFlt9IUwFmPW282jDlNcujshGdqM3ZNFem3QzWT/wAErWJU841aZHmMveJkAzPc3MHfDbLDL0UBYyxhl8sx5ZE9Zl37iw/ixRnfEopMVy4DUxsXk/HbWBuNQ67Yz9Zi7TBLMd4sZ7D+/jCxW1sOLHH1PlG6h47NZJ3U8Y1jIUhNQ0l1EMQOkj0jqQsSTc4TKuthFj3/AOg29v54d0/CxVRUzDikouyETUAsA2mZvMXIiMEZvxHRpKaWWp+knRVJ55JEsOUQCBsAInfHSTIkNvy2Zk9pFAPM59aK/I+Fyi6mPlNuocAM25JCyCDa1hO2rDIeJsurAsbi7KV1sTJJCMWimDOo3kaovGMZm+M1ajMXbmY81gJ942P3w18OeEHzBkQoG5a3xC3J26CMKU6LJaLOAwxLW/l+ce+ySH4xxRq7lqYIEAXOpjAAktA1NabD88CUeEVag5VLRciCQPc9vvG2NxQ8FUaJ8xtVa/1So6Ry7kG4ktFvTjTpSUqsErTFwacKi3mW2WQYt7YYEzJZInxeHBaGwGzG06nzkvlmS8M6iBUYgTssMT7Ak6QT/mY+2NjwvwgiaSaQpL1dzLkdYLLY/wCVB848414opZepqpxqsW0CZPUazHKTOxO5xm8344rVCTSpqpJ9RlyP9T2EfH3wk3G22xoLfladtNdVs6dOnlXJYs1oZidKlT7kktIvdvtia+K8ug5KhgGQlNQB7amNjbeJx8uzj1anNUcswvdpt/IH4wTwbhdXMQqI7wfUoJAneTYfrhgkYIf8Ih3L8eJPbs15SSwuQI7Dt1Mfl2nFuX4g6MSCCDysDEN/ff8ArhlxThpChkJIkgavUIFwG+oAEfmLnCypTNMQwsLFSCCD97qfbCX0DIjIrds0/wAjWKUvNBGliQxJMgD003HS8spm5A9pFzuRJQOq2MwOoiB5ZH49Nz3F+mFDVo9+/wA9iPz+OmGvh/iiq5V1ZleF0hoN5GpT0qCRpYkCJB3sSWV8J8MGI2vqNmKS+x+Qf9v764d+HYqLVpWMqTqLR6bwBN5XWI972saeP8N0OdGllaGBTYz1Xspna8bG+I8Aq+XX8yQpp3vB9ioBF2gkfngKtFcIsAubjiPPJU5CqaVZZXUVcchBIJ2gxc3+kb4P8R1dS0i/ri43iBczsBf0+2KM+hGZABC3ULouYkDUIMljvuJ9hgzj9ECpQpAgkIuoMDImOVoudvSPfacCkXNMVj85E8JIWqGTIoP+bVLEkfSo0gTvvqOk+xjBOpaOU9bOatlAEBT9W8x+GQATA748zul8zpqPC0lvpgiRc6V9KiSO+3XbEKmd82v5wpzTQgIjDUD0iPxMbwO/thKdXATH8jx+0duAqjshwunQpI5561RYppKgEmw0ypEKCCSYg6uwxVWoLl6ScgfM1JspvcxJ0vveAABt7nByZopprPLZl0K06YXQqKSQAeTYXNyZiPfFmW4V5JFfMs9Su4IVCJ9he5A+BaIGBZ2+I4lzjid/zGtB/EZnakycBWnSNTMa6Z1QFm57wpW5HefbuQJl8lUzDmA2ncQtgB3A/KdvnGrOSZh5mZJposBQIi/QKDuQJMEHv2xa+bfNE06QApiBqPqIFpGxYbSo/TDWpr3iZJntP7W7htKzjr5P/DWHIsVMgTY3JkNHa9+mLOF+EK1aKjXk8ybP37QoPQC5gwMPq+ToUFIJDNGxuSQenWl/qv8AngOpVr1NIXWKZkUwO34QQBq9+hwIq5v0zL+Rz8s0xq+L8vlaa0KYOYgen0gGO5F79+b3GM3xDiWbzTaWLeW11UgxG3IIJqHpNz74cHhtFOaqdQEBlMapjoJNptPMYM9ceZzj5KlaalWtoqMSWEbHuTHLOxHS5wySVkh2RsI3oDLxzc7btGW+lfNVZfwxRChKsU6l9RZhtfSVBIXTvOqTIi1sKszx4U1NKigB+t5JJYSA4cmRANoAiTvgXNcIzDKKjmReNiYG5CjYf33OLD4fVdJr1kpibgczC0iQGi/yI67jHKs2GwGcZ97dU1G6pPlkldbNNUYlm1MTvvP6b/a+CeF8ErV2Ipo0TzGDC99R6DrBODf8SytEzRoliQINW+lgRfSCQQReDME+16M/4kr1Z1vCsQWUWEj6o6EkmSInDWu/FcJQm3Rv9h7hNcrwClly3n1lDKAQKcFmUmAVZoUAgg2mx2wePF9HLtNKnZhDrEyRYGbCTZpix74zI4JmHTzVptpsdWkxE/iO/wAj/t7lOBNU6yx+lFLtHwP5k4FjfAhRJmPEvbRgOQ51Wmz/AP4hPUSKVPRP1OdZ97sAp2mNJjGXq8YzDvz1HqMfTMn7AbCR2GNJwjw8tJ6i1qasyDZ26XlgFIkCVMEG09Rdy3D6VOn5jnQCd6aGkrA2A5ogjSTtcEb74CZ4rE2PZbKbsKHOeBxnPfU681i18PZmp610SP8AzGgnsQp5yfheuHPh/wAJqX0VWZiJOhRBkDaWlp/0j5w7fxJkaQBBS4vIZzPWwAU/J74UcR/8RwXDUg/Qm4UE/i0iTfscCRtFutALGQy0bcO8+61S8EopdaCaRcl+ZoFz6p0/OjFZ1CsBzVVB29Q0n2hgLH8Ixkn8fVQsrTppPUJJ/Np/QDCXP8ar1/XUdg17kkb35Ry/phkrPC+F2h5+qaYVqdcVpBmqdd/MdFpKDpUAzT1MNTsrfQ0DVtuVscLeO0nrHXVvoUanC/iMgFh6uW/N2j5q4ZxWmlFtdM+ZJZWR9JBK6boeUg9SDP5YhkuMOnNScKzEtAGksWPVDysBsAIjpjhegyA+G8lgwoJ+hqQNs6zS+pweogepp5EOksBYMeh7fyvheVN4EEX22+Pb+mPolcUkAo1P3RVb2JsCdJanOq7c5gsIHvGMrxbhq28tTJMmCNN/SotyneenxGOgVqstt8QycPI5S13CK4JmP3ahnAmRTFiQSAGmJPPMAnqSejQqqZfyqwW0AggsDpvZp6nT/se+IIzUakEXiL7QfqH2kg/cYacdqrUorUu1QmxJk+XcSwuAWgT2Km+Fmu5eHFpg/WuKs47SC1cuEu2kTAIYuDcnqD2A2+ZwszWbbzXfVGnkXrNogHpi/PZks6OpuqAFz9TtcxAmADP/AHE008qCxFHYD1uRbu7fSpPydItLHDARBbcYL+z1/pAgEgjqfW3+3uZ6dcPuH0NABYS4/wCHTgECfqY9Wt+WLsnwYBburAQUIDS//tU4k/8AuOAD07mVUASolf4N2P8Ambp8YauCI1Mta6Uzu/bdLlwRUqsZLMux6xe+/wCmPMrngj6iorVZmWJ37zY/2MCmt0Nh+FevziFXMKv1CmOxMk/74FTw2ykRrZTsKJqMwjktmqjlhGlVFxN/j84wTVrZiqsUkFNCdwQpIGxY25R+K0HrjJniGoRTpsxNtR9z+vTHhqVbpVrFAf4rRtfqVIt7jvGEoPhgGmWRwHk0eq061cpS5mqipVFyFexbvqIgEHvM3vfE63EK9RSVp6VazHeZuGvt8qDhHR4llKENRpu9VREtZSYu0Sb3gjYi9owRm8/m3qMBT8krIvc3X0FjNiPThLNM3plvF5lyAy1kE0bw2VXW76Y/4k7rJgXkk/p+hxV+20VHKAzLYWjUOuog+97m/tgLh/B3NMtUqgNGoBmBlR6gTJYMO0dRghq2UjQlQOy8wIBv/CJ6b3gbz7Yao2K2I66XFx3CQGsMeyjV4rUYMQoCmxAWwJtNhAJxn/8ACGLwzcsWYkmwG0Dr7Y0KcUUSAh09i3WI99x7YFrZl6gCzbYQPaJA/ucC0hhE7rbu9B5Pg6EFG1M9gItY9YgkmxHQSLxvi3KZfLUSRWa6sQVVQCRG5ZjqHwBMiMC18jmDVKuSCBuSFGn7bD2wLQ4PUdioUkj8Ks8zsbCIjAs5benfiU3a7LSZHxLl00htTeVOhgoYnsw1MugxEyCGsCN5W1vFlUBkpDRTLlguoqBMgDlIkRFr3AwTkfDS+Wwqa/MDlAAyIJAHeZaJIAjUAcUL4bRS4L0+Rgsku0gyVICg2IE/fCosrBZA5xx68RxPslv+LVnIbVdbAi2mNtriOhnEMzmqrtLF3MbkljPyZ/n1w1oeXQqnQ4uo0mAL2kGYiTIvEWv1x3E8yhUFm8x5sWqBzERDFeghSOl226i1CI2+LrKdeSUDhtQza5tc79rTM/brhjwbg2qz1BTURLBZgsQom62nrMDrghfEdBDNOnTUiCCVdmBF5u8WOxHbpiI8TBajso0o8grYEAkMRIHqHQkdrYFy+JaXtIa2WuKLreG6RDBTWZlBc6gqqyqPpgOTaSCTBA32nzheUpKGYU1bSVkMS3KTBYS4uDa6xzYhW8VoFhaTagZDPV1kW09EFoPpmOuFVPjdVTyoAO2kkEdiGJBFhYjAs7YVpewh8x5nngUDURtiN+3aSekjHIsQXkDtEwfiRjcZnwpFOfLpmVWLpqNRoAFmHLqJtvAxLiPhVCEprSHKrGRUINSAsEy8LJaLT/LBNdj4rBMhtns91izn6jE/vNSndWM2G3q2sLQcE5fP6qrM80w20Alb7b3gLJnmNsXZngCxpQNOpjOoEaBI2je0zOxGLU8LHTCs+sgQujdovcN3MXG2HMLQ6LZ5Yy4e3qjWpUa9CSCD6pUzCgkCT9En6TY6RthLlaTg1acHmA1HY6NQMCTu0A36DBlfwzmKRlLjSJZZHQyLgC23a+E9d2JBcQT3/u0CwwBc2drSCGPmDXyTlaC6rpJmeYH9ACOXYXj72wQ2RlhTZRqP0zLX/hCk2HRUB/i64U5TOsBEsVO43G/wwP3U40FKiVRjBCTZbgHudLNTE9LJgXLmODwCVOpl1QMsFSbRq0iPdBqdvuQfbFVWkdNwdE22Rf1ucGtnEKaTAIErFRVgj2p05JItdv5YW5iEuACGFops1/wjVcmcNaYZP7vx+Etz+dFOwIJP4enycK4m5W5+pzgx9dQEEVmPYKFH5dumK8pwp3MClJ92i2BW8QSrrsvGrMbGrf8ACg3/AC398X5bhimJUmRG/wCo9/6e+HOT4eVACrSUxMzvFu+D6vCH8ov51G1woIBif+5+2BT8RjaEynrJVcOauKWhEURsWGxUWIBsWADLJBkW6DEs14dztZAWrQVXlQAi45gDpt6bg9AI+PMsCyktmdMAELq7EbXt3EdRjzI5SkzRUzAAmIBO9xMlSoixnthSWV0JrSXNABH8ST1S0+Fk066tdVYNzHWCIbYyJJaZn+zivPZXJqqMlUkiVbRJLEfVBI0z/vscaOlw7IgzUrCIU6ZmYMMCQBExMe+AeK8EyFIk06kkNGkhisH31bCRf264JKZiG/Uv4NkNaySnIcQotAKuzDqzRq+IFuhjDFeIKAdNFRJ3kkjqInsR2wlyb5anUBLElXgSOWLgE9fwnbph0ubyp1gEswNiAINhBHLMTPaME1sLw50rrjzVXE+JyAyooZZJljcGJFojYEXm2+E9TitWoWKwLAELMW2sZ9zv1xps1nqJKtczO1o7Cy/y98BZXi1GnUdZemjAGQW6CCLEE3ve1mBF8IqLxdbeEMk880mynF8ypLo1QEiCyj2sNvYfbriacIzNcNU0VnF9Te+5kk79cMaPiPKoxPkg/vCwnURpkEAAOB33BEEWsZIyXiHLMpRlKIGYiEBMEyu7jSyGSCN9R26ik+LEb80OFLCssuBms/leD1WU2gDeXUf74GrZZgxBA9r2+RG4ONF/j1FqlT1gM5cHSpgmREF4IaRPwML87xemKgKJKAQNSr72O+0/oMAV4caM51W680s/ZGI+mBcxNul7dTA/LDbJcJVk1PUVZAJAUmRJUGAO4PxF4wP/APEBIIgGRFlQR1my+2C+HeIQANXmDTZSjhbGSQZRp32EWJF8MpxjHLaDl+QhM5wrSwIclTdGC7qCVuC1jbY/74nS8OlvorMfan/0OCOKeJdXp1BLwNdwWMkSFFh0EWxKp43qMSSagnoKzgbRYQfnfCqpztZaJDqOCl/i9Pz0Y6mOvWx8qnJMyTf/AHxRxrjlMsVpq+gKqqG8sG15aFM3vv2wmkqfTB3g+/t1wVmclWWAwKaxquNMjYGO388OSqLNCa8E7KaClVzUlf3cKAoMnrNzsN42wbnePloAp01GqYAJsGJIMsfp0j4GLvD3hYZhpqOYC6mNhB1AAFmmd/npjS8YyuVyzgimAQKpubEDVMlpJY2ACx9sEljj2qA2KIYaXOE8Pyss2ZzVcswUKGBJOkKoWACZPQAjbFSZIMRJYAmTywRe8c57zJwZnuJ1M25SkIXQ2o7AIApJje0dST8YBqZxSsBQA0EzEgAkgailpJk/adsAVod+QAAadgyG/wBERTywBqGFZBqC6gJI2gTTcahfaIw34aCtPsGjbSJBABv+z3tEkduuM/QhoVULOZsLi/YCn/v0P206DZFIMCLRIPsBWBP5b4F1KU7yn5vIZfsf+M4jpNqYH/fC7P16bBlLUyRLDVmqgHcQIubfqMMw7oqo7OkwSGqVqYibDmBS5HqHbA2foVXDMhrMJWSj0a43m68rbwYOCSi9waNkzjOSRnLUzDCnR9RBH7VvtEzt1uf++g4ZwELRLfsiOYaWGYuIgbe0jC/JpTeqqvVoDSNRFfLaCWiNNtwBcXsemLRQDJPko210eCNxtJjvfthrtl52ZGH+W/a5qll+GsCAcuWvHq39hOJcQanQ068m4LPaGkGBcfqDHXFVbN06VMn9/SeNwx3OxMdN9wMKsxn3qKIzhbTsrzuYmZF9tr4Sq4vLhs/29CQptxijAjL1Lk6ZO4+YvHbp3xbwnjeW1r5qMF2PUdQSdibQemB6NTNEcumoFMbAk79RcRHftiQr1aKgVMvGrWAByzyhbrHv2BP2wJl8wW4nc6vVOTVyhpHRrnlMm53MxFtomcX5IZYhQ0C5HNqFokEwdhhJV49SA8tqBplXOpQYiwHWWmZkHtg+k+XYDUSOQQQvW++BAaXMreHGfZB/4flVqL+8kMTytKr7SQ49u2IZPKZdG1CsPXBHMJXVFzMbX2w043wyg2vRUUQsqASbwTYmfg+5wrq+FdbgUzEgHmZR1gETpEMbgb264Si6I0ScYjhPb/W9OMzwlNZGpUsDGomJt0npijNcAVqZa5K6hr1GBEwDaNwOv1AicWU/DT+QrzqcWI0k21aZkHc9o74Gr8CrEeWBBYmJJUSNwdQEQCP0w134jXspFw9MUKvhb92z61kIHgVbkW6abWO+GOf8J0wjaCSyCWJqoQSOmnTKkqdQJOwIwjTw/mtXloHYxI0VFYH3ENBGPc5xLN00NB2qhVtpINouPi/TCWdzYr3Dw4oOfCmwlFr4LqETpb0zOtIiNQsL3G3yMe5bw+pphnNUG7AIFNgYJOoi4332jrOE1DjFaRFUahsSBItETFoFt9sF8P49UpASEaDKyoOk29P4SfbeBgKq+HapfcOExt2q0cG/eFTUqQF1mFnlidtUTBFvnFma4AqhtD1G0DUZp6RpkAMrCodUkiLC18CL4gPmatCRERB9ERp9W2m1vzwfW8TjyyqUwpg3DN6SQTGrV1AgzaDG+CqThagWy3Twl7pUOGht6mn/AE//AN4tPBnCBhUJSdGqDGqNUerfTfB+S8dVKahQaigEnlfeY31KRaLbbnfBOZ8dmogVtbENOpghtBGm0D3nDqhz7YHfZTzHt6orN5ClRo3empZF/dqJfUYknT6RvGo/OFXFs8FeVAEzBa+zKOtvpMRqwu4jxcOIA1EACWsIFgAg9urScD5zNGo4LksYi57RA9hvYRhSTgWR4IdEM8fTVUwocbNNF0DUxTmLbDmBBABvYDfubYt8mvnqwdi0NrAYzYCTpUWFtQsNt7Y88O8BNZuf06WtMdDBPZZB9zEYccQ4wlGkFoxyuoANtQMMSRt5etQCNz1k7NTivayJcgtm/bsnryQXEnSgq0svd3XTO+rUNJcHfdbfc7YUZnJinUqUifQ2gEHcgfrMHrg7w5Cl8w+ommZXpa+oz1IXp77jAuYyp8tK5v5tZhB7bAz78w+VwBVhfTeWT3T2ux6AdVZQekkbXN2K6tr+5A6TBtjRPn9SiLAe5NvcHUi/OlZxkMvmCIMt15gSCCOsTuLH4ntjU06aFVcEHvzERNxJ6A9HW14YYclYsAM3TK56bUxuUL9jp1D2IJpsPywnzVQNUIYUiR/zF0H4WosAnffDSqYJABUD1HSJ/wBajlb/ADDCnO1tDRqAnmCtzUm+B9JwJlpInmikzrIwps9ZSR6KpDqZmNLe0m/vgisgAE0x/npncfHfp064RZGvpqAr+7k+l/Se8E7fOHgYButN/bY9J+MC7hsuUGuVf+l2bpFlHl5leVSSlURf8IBtHTrc++FeZqb+flgNiXSRAFh37jqJtgnjYsPOQRt5i9JvtsTI6e+AUZwCaL603KtzX7RHUdovPacJSLCDP8dW+oRHCeFUa0lKxpm7QTpi3KB3liBMzAOG+cyWfookVPOTqIkQXtLddR6zsPbFXCc7RdHFemyVGYSyiYHSJPWNPwMNqvCGRRUoVC8WixB0jmPbSCYgjAoxDM/PwvAEcHD+1nn4q1MN59DSWDqGQRJJANzIZRtb2vg3KZnLVWIGpYKheUKCLdtuvXtgCrxaosLWooy6QNUGRqJlpBjUe1tthfBuXr0Kutl0qWYASpUwBvC279z/ADKCIbLpndI3tMx6ojN8OQsxRljVAAM9haRcb9emEma4HVFVvK1kCIIDDeTEiQLdzthk3DmBlSrAGzKf+x39umAM1VzKVX0M5JEkjmsRpMkXFvbp7Ya0uLg2TXg+aZZF83TyyAltJYMuzfxA2k9zBxePEVbZzrABkEsDeJ6yNh8Y9yfirWieZSUx6pnmIEAx2EmwP5YfcG4plXZp00zpAGva8yefUOo3O2GBOixRXOZCLosGZqaamszS8XIazF6TqpUDlIaObVBDASCSQb9cd/j2Uao0owAVVTmZIA7ldUW2scOa3hbLZio9SmabBmgaSy3teVlRJNpj9MVZb/w5T94WdoDEAwHnT1kQYvG3fCu7F536iwgTN5pkKV3cUJRzGWesvlklhTMBmDTUvE6wsmDvYffHniPhogSFRmblHlhDoImDoBDENC6pMXHXAzeAKwqMENNwo2DaSO0hgLkdJOEPGOHVKDhXV0PX4+Rbvgula4EOFEijwouWGJ9+ibDwrL6dVEkMVYircEWMqTJ+AMdwjw8HEuHVZCygBMsCZNo08sHrJX3wkpcSqrBVyImDNxY7H3EjBnCuOOgIZNaTMSywQI1AoQQYkdoO2FVa4kK0hhk6ffqZIziPAwqTTqPAMMHp6CrHYEajq2bYWj3wrPBahHqT78v81Aw9zvjTUICsiyJGrXdRH1AdDJmSTecX5XxJQZVBp0rLB10iCT1OpIMbbzhqDItrhsm5s+RPSiylHLM6HSDAWWgdO7HoPyHzhrwzhxQpUMiCAGA6lS3L3bY/J+mMN8lRFOl5ZJANRiVBjXpsZJvGkhpb8NhJxn87nzCCZZAFVRcCDuOwPbc7nthYq4jPjlzW4eib5jjZosii+lw4To5YTrYgAkQ368tpJWcI4ecxmBrk02MtFuUyLdBB/IA9sD1VqZh3aSzTLsT9iT2ABv0iB0GNXUp/s2UemJmmp13APl1CJBg2ZjHflAw1GIRZ2hrPvdQ7t/M9Ui8TswrBF0qrr6VgCS1wQNuZRE9AuL8/SBOVowCAYKrvNib+8yeogfcbh9Fs1VepVvy62bbm2nbaFI6Yu4ShqZ5daH93OsXsUkaj2vykTc/OEuz9NoBxYCTLbLWik9egVNQj6HBnfebH/r74cZCryCLwLRsVO6/3tgdabB8yVClY5iPQQbT7EzI7GftLh4Hko6m4JVxNxG0d+U/p846mtrYk6HcOYnXWaYq6bAGbeW1rd0buMBcTpFgWSkOX1pvv1W0i+CWypDmmetxMf3fEf2fUrfiX1DuNsCpJu3WuqSVqwCWPmUjtIunsJP8A0wx4fWlBq5gN7zb++mBatBqZ10xIO626RsN/fAzIwmpTkpN7QAexH/bbAk0ypr8HunjLbl5k/D2/oZwNlvDvmsfLYK+6qSQSf942AFycGZDLlqIrqymBzLF5EW03JG19sMqGZy+Zg02FCopkxuekrsSZ2VRbvgmoxI7ZG6cKE7DvGat/aKigU86oZSb1Vm7Ab2s7KIWItgDiVFBNSg3LFgJsein3O8Sce1/EIWUzKlgtgdEMI+k7AT1m+Ba3CqkHM0qtMoo1CAdIP4IIgkTs1ukyYCWdpEEY3Z4S+wz5yS6txFklKyAyZcqd+wta2HHCeE06lNRTKh2JaC2wNgvadu2xk3GB+GcUp1DpzSKGS+oJdm6Bxta5v7XAAw2fw5qINJ00m8g2UdBtI7DeYm2BMPumTvkO3FpQdbIPRCtO5sB17EjqDv1whbix1uxEmbRYWsJ/ph1xLjVRFIfSwQaQCBfpO0Mek74WZHLU6kekM5jSdxvH+UARe/vgWgzu/UE/JPuEZag6U0GoOYsYM2JMWmSYAF98S8S8BMhaKttqZRLwAYBIgOAbWgxiB4DUBXTB1WBBBFtzM2H+aMJeKZvMUKxliJiATIIGzBgY3uCDbAoEEu+lE4HrrahcpwvMK8U9eqNX7vVJFzMWMR/LDbhfjHMZbkfS5BNqghgSIN7MPzwRwXxUlRmOZsXK80EyoDLpJkMNwZ5r3jHtVMvmmZ/MFgqgOC8wt2YiXUSNzO4wTM1ljPL3Flph0kKynXz9kfwv/wAQqTajWpshLapBDg9DZoIEHYE/7YVcU4vlq9YAEqiKQCp0k3LCAwIuSBc/fAea8O6XABEaNZKksqqb/JlYI7yMA8Q4OUJIKVLxyNcR7ET0tuPnBOaINlsgfehkiYpX390fX4dTZGYPMAQGphTJIAkiQRvsZ2xdkeAU9EstQnT5g8ogwJI2Mg2GuZWwi+M3pK+kkHsbYdcM495WnWiOUNmIOofcHbeAQwEbYRWqNCjNZJjp9PYYqninCI06HLKRqXWsHeDIBaIII6TvgT/CapE6NQgA6Ob78pn3uMOf/iRGqJ5gPlqQNJAc6AZiTctB3gT7Yb0a2Vq704P/AKVS4/8Al1JI+xw1I2qPBaA9vGnuOiSDjbU6lQkB6hJcFoJSp+M2u8TC7CxiRhLVUkki5n+f+5mcRorafqIMk9O/39+nycarw1wxRTYVFliQCD9KRLQBfzdIJ9lBAuYKwV4jmWVpeBWg1uGt5fhjhoy6nUCTV5CsHmdSraAN3UAnULTBHUYzfGsyxruhuykqx31MDpknbYfHqI3w08RcUYaVlhUpxTQTcFSQXBHU8t/xT+EYB4Hwl69fksU0spiQWmF+2rrtAJ+WssAFt60xTiNcMB/ScZCkKWS0MQC4dlDdSoXXTPXmKooBi4bthd4UpljVq3NRUi4nUWBv7kGAV3Ib2xHxJm9SqwNizAiZIKwSZ/ia199M7G53CFK5IugIqnnMb8hLh09oQT3g7dVkuCC2A5xxe7lWvTHnmlfBq4NTMsoABpO4XceoELfcfOBcjQL0qhWxQhoNgB7Em0m14+TOC+BUdSVm+pk0Ad9QMkHabDlO8z0xXwCsV81WWV03GxBE8s7rNxBtME7Ya2uN0vLcRdTShnC9FHEq1PbtIPWetx9sG1eIRUSuApP1LEaj1BtB+/thP4YzFMGtTOoahKmJgLM7EGdPaQRqthjwpKdUNT1aiJIKgcwFjAMGbSMC6JZNwcMOocia9cU31U58lwNQ1H8/Yi979e+EmZJytbzKTaqbmTCxaZ3AGk/5Yj8sH5SgrakaxBkXj5i33xPKUTrNIx1giN4nruCPvgTMJgnOtK7x+Enps1NxWywZg2rVckEdQQOaIuZ/rg7M5Nc2gqUP+Kp5g1niwEgcoUR6t+/swylT9mfS8FGvyNEE2kkLMdCMV5rhzUapqZclaZgkUpCR2P33HQ/bCWdzXX5tx/a7IjYV2Q4qtX//ADZlVFRTEMYQkCNTHV/xd7zBtBHUOplK2WYPlqhaip+ojc2JKTtYjWBfa2Ls3w+jWl1QF4uqWVeptFxuYG3QRYMeBcSh/LrLqWwBY+iLb9o+5FjbZyXAgFgLmin7mHrLXOiIydKhXSNIUjmqGFVpi4Um2j/7QIEXnCxq1XLFxTJVSdyIMdDG6kjYjvvhvxzw0qqDQljN4Iid4XoG7LPwcKMn4mSdFZzKSFbTMG8iCbNJF4IsRaZwYJwnN8Mvh/M3/E4+uejJQo5ujm3COiJouZIUOdo3AsJ2gm1z1tp+F1JeohCDZVM3j1FSRIBKtGroMV8X8MKyNUH7uoxnQBCGYhVPRjNiAVMNAG+ILx+rlqaUqgMKACjCGj8OqJKG8biNsJcQnmIb8B3+p6y26qo0PETZdxql5EaSxU6ZBkHpJHuN7HFmX4pls0SXBpsTCgBdIHurQryxJMaSNxvAbZelk88gVI1ep1gwoG5AJlCfYlbbicKvFXgwUgvkySZGlyJsBdTswvbb7nHUs1A2izxotx4LHn06axXg8JIWdlaKakgMiFpKiWOiZCgxcfiX3xnOIcMNGppF4g60JiCAQ0EAgQRe2DeG8fqZYMkA6Z5aiwykjTY+pTFoB+2DqPG6NfU1VW8xmLFwwVhtGm2lutmgxpAOEtTDaYLiXfM3VffLYEl4fxVgSW5wQVIJMkCDuDNoHfb7YLznFadSwJXVBJa8wNIvAmLm4Fzi/OcJU1D5bawq6maBM7+kWkyq7m837BcQ4QEkqwqAHTEFWHaRsR7gn9cFFYOgxHB2B1w2Y1WgXLuwChVKGoAgdQ6FWMDSQTBESQsbsScI8xwqSxAbyxYPAI0zy6iLCQPxYXU86yhgrMs2KzE/PRh8jDLhHiOpR6ldRB1IYa0jtBF/TYG3bCkuRAjQgXMkenv6oN+EuDqBVpnYwb/wmCftOKly72HaxHT5gi2NjT47QqI4ZaZqOABCBGIJ5id0kQLgEmd7YJyGRpaUMoxaoeSppkUwIZQCSuok2J0+2HNRPxB7AfEbX8T1gs14ToBautlBgFlm4BBEOR9YUmQo3N+mHhqCm+qqSAQPNZSJ1IwYOseokmAfqcsfowDmKgoeSWjzI5lUAEU2JgE/8xlLATsI7YC4vn1elTooeVBLMRu53HsiCQALEyeuFiuHsdaIl7I04Cde0tuOAQ/Ez+0VmYKFLSQiiyxsB8AAe98fReCcL8rKrpA89VOoAkEuRdJHZZX2NxjFeBaJbNCqR+7QiZ2k2Sbd5b/Se+Nz4i4h+zU3rAyV5DO+s2DezAFjI6J7nHbda1gvP+KPcXsskPKXPCR4dwvlmdqhqrFRKFgvzFifuf5jD3jVTyqCohOlNYVxbUG0rDQeqKPkG4kYU8Kj9oDBZRZJEbCPVF7LIP2wbxfUlPQPQzQbf8sTbukuDYkdscL2ooBiQ2bOuXMDnNV8GzBWnVm6hg+md7gSOuqGN+ntbAnD6k1iwLQQZvcAmL3vuMMODVActD+gNuN11FVJMDrptHYgiDOE9EAPFzM6WG+5v77Ya7YJuiUrh01+VdlsyRXkhbmGtG4+0H+uL81VbL5iV5SDe+oMNiR3BsRgOtWYMrAgssRtaDsR1wVxXMq6KdABI1Bx1EFYI+RMkn+gqFpvtMqESKa5rOmnUkgoe4UrPcGRvuDPbBueXVTWqAxHRjBAi8fIJB+CcKauderlYLsWFmkSGAut43DW32b84+H+IgA0fLUnVIljeYhCPmRNvUcCiHvDLxFWmR8uMlpS7ZqhuQytcQAsxvOwtMidr/TijJl2Y5esGJHKotKkfT7i215G3TGdyfHHo1DJdUO6g7C+mdp0nv798HcT8xlLIgVlBLXEkCDqiSZUQTHQgwIuIIDDcNAag0oeaNrZM5aorEzf0qSDH4SYm42YfzBwfm2SvR1JpQJJYGNQ9yQAIm5Xe8i0gLeB0WztJqbQrpu/sbXAEtcTqJAUxeGAwtzGVPD8yCT5siQbqSIif4HE7m4N+txRMUPfcB+q3r6YcUy4J4pqUH8qtK0G3kXAO5H8J/rEHDvjnBqGapg0TTpgDUKwHKRAserR+OJFgZ2xm8+GzdMOp9AJKXJUGJMmxSd0Hpmb6jhbw3xFXyylUaFNyBBg91nYnv1i8xgBos8SzOjO8aEbsQYjLtjzHdE0eJvlaxpVdTrTlYBukyCaZMgG59jfbfBGZqLnbq2xIWmWMmTJ0kyFM+lDYxaTuJmctTrKGpzrJ9MyZ3LhrQLyQ3WYtcANk6lEhyY1fUDY+0jYgdPf4lLWIbHEOHyv9fLnhzzRGUo1qFRnp6ppm9RfpPvFh0G8XGNFwjx1LFc4A0xDESBvuoiCfxLf2M4p4Px+iKay7q6wNKi5iSYbYq9gQ1wBuwAhVxbgLpzMAha4/Ce4B+hln0nb+HDmVB7YdocWWhsjgDgeGpdztc9wPL5sKUIdAu8y19lptAkA8sHa9sZHxR4dWgS1Ni66itwQwIGzWja9jcdBgHgnGamWJCQZs6OLN8jr8yD2OD874oGbYCsIVZIC7yT0Y2nYcw2UARvhqcGzWmzRaOvQxrBJeGZ40+gqKRBQztv0IINtwbYaZjjaVOSNIbTJdr2AAloEqDLS1zPsMDZvhoILBlZRfV6WB7Mvf+nqwEvD3IZ9JIH1RYT37bGJtbfCovSLYMU3zQ+uuK0TcBSpIpMtWJ5HGlyO6GQGB3Gkjf04W5ngJSoUE6lsV36SRMXgTuF2N8CUOIVKRkRCkMARIB39JnGi8OccV2IYqGKkKajaQCd9LxKlgSBdYnfAsr/1EBpcDeb19tYrP8Q4JUokK6Mh7MI1e46ERGxODeF8cq0AUlXpzLIyh1nbY8wMWkEY2/7Gw8unPlqRDUaoUqFTdgNOmNNwxiSJnGFz/BhrgakPSR06GBcWidOoYFOBa2WppZFA78eYymh87miSWYks5m297FvvsvYYEgsDHS4jp2H6D8h3xXmTJN5Iif8Ap8WH5nGk8HUFY1HKhii6ghjmcg6YHVV5nIH8OBb4rhZ4V+WC03hiiKGV1So0gzfeqxgBvZQoPWyz1xn+PcdLAZdzOgazO5kWB7kJA/1thnxTMCisQPL/APNXtUADECbjlhQf/UcYwuartUdnYy7EsTsZ9RPx2+MG5eTYbMI0R0d+ZmNc+i0nhPI+WRVqK3lluVvp1JfSxOwLQPt2nCLPuVOknYTE7Em8dLwPa2NXwquDl1QqWZQKZUdVZtZlT6gTYlSCLbWOMnxjLaKtRQdQV9CttOmR/wDjhDFbbK7xLQ8ux9BgeRTrI5c/s4WnzatJK29QYmFgTIgWMgz0wm4NlfMqAAgHSxg9YBMQDMwLd8NKbNSpUnWx1yJEg6UDar9ZYiRhPkWmrTsZ7bEm5AHybDDVYQddiEHGdeau45lClViVK6ixBvEzNjHvsb7YGdJoK20MR7X2+9jvhz4jqOrNTMFQwaYAaWRTJiLwAPtgThya6FdQAYUPBkHltIO1pYx1k4AVSFFPgtcd3I/gqPB6za/LnSGNtoDH3sRcDY9PbFPnaa2qopMGWA5Tc3FtsCUnIhh0Pt8j/fDDjlACqHSwqLqgqRuLwOxOoiMCoWgRJbQem/eOyZcQ4erUyyU3LAa5i5SJYkT2hgQLQbmcV8HzQqK1CrUNhyMSYt6RA3H0legII9OLeAcQquBTDgOtqR0zzAHSCZHuokN6gLDCinmGoVVYLJTmAIsUO6nY9xO4n4wljaxzg6E7EVG3djrFE09eVrhlDqATEyupfqQ7E2+8EHtjXZrNUczlWNGnqXcygHln8UzJKixF9Uzbpnc9m2q0Ay6VWVJGokqbhW/hBMqSLkxJM4A4JxV8tU1CIJhgwsGgibdIJtsRIMxhqUWA6O0RP3t34yyPp+V2QqeRW/eg6VI1KO30sJkNvImx22OHXF2FejqpSyIZ8zSBo6GOuliVJGyWA7m7jfB6TyzNDidEKAlhJW3/AJcXVyYYsP4jjMZDihouCtxP8xBB7g9V6ixwsV22VplGZ9wyy1v4Ga7J5k0ahlQQRDLO4N+Ui47gjb9MMmAzItpDEyE/Gx6zEBiPTtMQL7xq5RWuxIJgWXlUt6QABJX3H6ndQCyOSpGoG4iQY7dGGGtMhFN5tHa1oKecypQ3DbWkQR7H2/u22GXDPENWkrLIkjf3F9UbFwLahcTgzh6+YvmEB3k6y3NB+lWWNmMDVefT7YV8ZpaX5VgxLLM6W6wfYd5InrE4MVxfbGPhRAmFfK0wCNDNZRI9XNJlOhXoB1i/fCKusEgHaRPf33IM9p++JpnnVQA0qDaOhIgx+GZ6b4uREcCDDdz6Sex7fOx/XArQ2uhfcZjXJDDOMLTaZttMRbGiy1ckF6ZsAApT6bjkIIkSSewbqTtjPVsu1MxABIuLH+/j4IOIrUKiVJB2gH8/t7H9cBTiwWxQJJ3n+HirV0LZzC8i8pfqAg95usdeXAtbhT0lVmWFYcrqZDffYnutjv2xdwXPA6tWlCyQGIJETfb0ggEEwQOw3xpcqtQFF1BQU/eI0OhpqfURGgrBEEkzbmwty8+LHiQPkyG3Xvwmsr/jtamgTWSkkhJOnaDb6ZBIgWud8N+DeIqZRldFMxAq3QC8wejExDSsRhNn+GAsdMqRaHtbpP4Cext2OAatF0aGBUgRtce8Wse4t84a0mzwI7JYHHYo0lDGdrdPv/tbD3wo0VVWAQykmR1Cl5HYyoHxIx2OwLq2f+T/ACPYpnxmqXyQZzqZ6yoWO4XQakA9tTE/l2xkMjeoqnaQPsTcY8x2AKNhpCfLaVo+K1SKWXaeYhzqkzZwAJ7ACAPc4Qm5v1N/fYz8yTjsdhBd2T7OLv8Aop3x+gKJKJ6ZcwbwQStu1gJ74W8By61awVha5sT2Y47HYMlOC4/pC6dZGvNF+J006RJIKIQCZiQbDrHyScVcBqlWeDby2BBAIIvYyNr47HYMl0ytlqk7QTsLsf5j+uNDm8kp4dTckyjNG2xZbbbTf5Jx2OwFVtTi0wpf5D1S7gdOa9MamGqxIMGIPX7DDTjOQTQ1UA6ldOpM6wxaZJP0jrjsdgOKhaHuFobI5D/qSVcGzTKzIDAJA2BsTeJ+AfkDHufyCoy7nVYz8AzYC9/0GPcdhlaHG7HpmPRV8KdqkozMVjafy/LpgYbr/FY/mB+f9MeY7DV8IjgN3qrsvnXHKGsB/PcfB/vfBPE8kqNUAnkuD16f1P8Ac49x2BSf8sVoGfuPdB5auyEaSQSsyCR12t0sLY0dDIo+W1kcwpGoGm4IqaNP+WL95uCMe47HJWe3EtDSP8gs5nlCkMLE6ge1jEx/YxTlpkmT/YJ/mMdjsPJb2n6fPummROolmuQNQnuYv+sxttib0Q6MCLpRDBuvwe6+3TpGOx2BYXmTjLKXolbsQzQTZQR+QP6YIo8TqQFnlmNPTm3MdCYExvF8djsC2loc0TC2nhfIJXXTUEzUKAzBQLT1yp6STBBkEAWwtzuXAbyyNSeYUAbpBjUsRpb/ACwPbHY7HK+aY936p7Z0kDxqv//Z"/>
          <p:cNvSpPr>
            <a:spLocks noChangeAspect="1" noChangeArrowheads="1"/>
          </p:cNvSpPr>
          <p:nvPr/>
        </p:nvSpPr>
        <p:spPr bwMode="auto">
          <a:xfrm>
            <a:off x="117475" y="-836613"/>
            <a:ext cx="2286000" cy="17145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 bwMode="auto">
          <a:xfrm>
            <a:off x="1998865" y="279790"/>
            <a:ext cx="6934200" cy="75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 smtClean="0">
                <a:solidFill>
                  <a:srgbClr val="FF8000"/>
                </a:solidFill>
                <a:latin typeface="Helvetica"/>
                <a:ea typeface="ＭＳ Ｐゴシック" charset="0"/>
                <a:cs typeface="ＭＳ Ｐゴシック" charset="0"/>
              </a:rPr>
              <a:t>The System: Management Console, Command Center and family of Stations</a:t>
            </a:r>
            <a:endParaRPr lang="en-US" sz="2400" kern="0" dirty="0">
              <a:solidFill>
                <a:srgbClr val="FF8000"/>
              </a:solidFill>
              <a:latin typeface="Helvetica"/>
              <a:ea typeface="ＭＳ Ｐゴシック" charset="0"/>
              <a:cs typeface="ＭＳ Ｐゴシック" charset="0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329784" y="1066800"/>
            <a:ext cx="8570377" cy="5443954"/>
            <a:chOff x="329784" y="1066800"/>
            <a:chExt cx="8570377" cy="5443954"/>
          </a:xfrm>
        </p:grpSpPr>
        <p:pic>
          <p:nvPicPr>
            <p:cNvPr id="4" name="Picture 3" descr="drawings" title="garbage stations"/>
            <p:cNvPicPr/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7904" y="4721901"/>
              <a:ext cx="1444726" cy="1073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 descr="drawings" title="garbage stations"/>
            <p:cNvPicPr/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0435" y="5067176"/>
              <a:ext cx="1368031" cy="993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 descr="drawings" title="garbage stations"/>
            <p:cNvPicPr/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2394" y="4017363"/>
              <a:ext cx="1385994" cy="10662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Group 9"/>
            <p:cNvGrpSpPr/>
            <p:nvPr/>
          </p:nvGrpSpPr>
          <p:grpSpPr>
            <a:xfrm>
              <a:off x="6145967" y="3437511"/>
              <a:ext cx="1834265" cy="1554214"/>
              <a:chOff x="6145967" y="3437511"/>
              <a:chExt cx="1834265" cy="1554214"/>
            </a:xfrm>
          </p:grpSpPr>
          <p:sp>
            <p:nvSpPr>
              <p:cNvPr id="1026" name="laptop" descr="drawing of computer" title="computer"/>
              <p:cNvSpPr>
                <a:spLocks noEditPoints="1" noChangeArrowheads="1"/>
              </p:cNvSpPr>
              <p:nvPr/>
            </p:nvSpPr>
            <p:spPr bwMode="auto">
              <a:xfrm>
                <a:off x="6145967" y="3437511"/>
                <a:ext cx="1834265" cy="1554214"/>
              </a:xfrm>
              <a:custGeom>
                <a:avLst/>
                <a:gdLst>
                  <a:gd name="T0" fmla="*/ 3362 w 21600"/>
                  <a:gd name="T1" fmla="*/ 0 h 21600"/>
                  <a:gd name="T2" fmla="*/ 3362 w 21600"/>
                  <a:gd name="T3" fmla="*/ 7173 h 21600"/>
                  <a:gd name="T4" fmla="*/ 18327 w 21600"/>
                  <a:gd name="T5" fmla="*/ 0 h 21600"/>
                  <a:gd name="T6" fmla="*/ 18327 w 21600"/>
                  <a:gd name="T7" fmla="*/ 7173 h 21600"/>
                  <a:gd name="T8" fmla="*/ 10800 w 21600"/>
                  <a:gd name="T9" fmla="*/ 0 h 21600"/>
                  <a:gd name="T10" fmla="*/ 10800 w 21600"/>
                  <a:gd name="T11" fmla="*/ 21600 h 21600"/>
                  <a:gd name="T12" fmla="*/ 0 w 21600"/>
                  <a:gd name="T13" fmla="*/ 21600 h 21600"/>
                  <a:gd name="T14" fmla="*/ 21600 w 21600"/>
                  <a:gd name="T15" fmla="*/ 21600 h 21600"/>
                  <a:gd name="T16" fmla="*/ 4445 w 21600"/>
                  <a:gd name="T17" fmla="*/ 1858 h 21600"/>
                  <a:gd name="T18" fmla="*/ 17311 w 21600"/>
                  <a:gd name="T19" fmla="*/ 12323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 extrusionOk="0">
                    <a:moveTo>
                      <a:pt x="3362" y="0"/>
                    </a:moveTo>
                    <a:lnTo>
                      <a:pt x="18327" y="0"/>
                    </a:lnTo>
                    <a:lnTo>
                      <a:pt x="18327" y="14347"/>
                    </a:lnTo>
                    <a:lnTo>
                      <a:pt x="3362" y="14347"/>
                    </a:lnTo>
                    <a:lnTo>
                      <a:pt x="3362" y="0"/>
                    </a:lnTo>
                    <a:close/>
                  </a:path>
                  <a:path w="21600" h="21600" extrusionOk="0">
                    <a:moveTo>
                      <a:pt x="3340" y="15068"/>
                    </a:moveTo>
                    <a:lnTo>
                      <a:pt x="0" y="19877"/>
                    </a:lnTo>
                    <a:lnTo>
                      <a:pt x="21600" y="19877"/>
                    </a:lnTo>
                    <a:lnTo>
                      <a:pt x="18327" y="15068"/>
                    </a:lnTo>
                    <a:lnTo>
                      <a:pt x="3340" y="15068"/>
                    </a:lnTo>
                    <a:close/>
                  </a:path>
                  <a:path w="21600" h="21600" extrusionOk="0">
                    <a:moveTo>
                      <a:pt x="0" y="19877"/>
                    </a:moveTo>
                    <a:lnTo>
                      <a:pt x="0" y="21600"/>
                    </a:lnTo>
                    <a:lnTo>
                      <a:pt x="21600" y="21600"/>
                    </a:lnTo>
                    <a:lnTo>
                      <a:pt x="21600" y="19877"/>
                    </a:lnTo>
                    <a:lnTo>
                      <a:pt x="0" y="19877"/>
                    </a:lnTo>
                    <a:close/>
                  </a:path>
                  <a:path w="21600" h="21600" extrusionOk="0">
                    <a:moveTo>
                      <a:pt x="4186" y="1523"/>
                    </a:moveTo>
                    <a:lnTo>
                      <a:pt x="17547" y="1523"/>
                    </a:lnTo>
                    <a:lnTo>
                      <a:pt x="17547" y="12744"/>
                    </a:lnTo>
                    <a:lnTo>
                      <a:pt x="4186" y="12744"/>
                    </a:lnTo>
                    <a:lnTo>
                      <a:pt x="4186" y="1523"/>
                    </a:lnTo>
                    <a:close/>
                  </a:path>
                  <a:path w="21600" h="21600" extrusionOk="0">
                    <a:moveTo>
                      <a:pt x="3318" y="15549"/>
                    </a:moveTo>
                    <a:lnTo>
                      <a:pt x="2917" y="16110"/>
                    </a:lnTo>
                    <a:lnTo>
                      <a:pt x="18727" y="16110"/>
                    </a:lnTo>
                    <a:lnTo>
                      <a:pt x="18327" y="15549"/>
                    </a:lnTo>
                    <a:lnTo>
                      <a:pt x="3318" y="15549"/>
                    </a:lnTo>
                    <a:close/>
                  </a:path>
                  <a:path w="21600" h="21600" extrusionOk="0">
                    <a:moveTo>
                      <a:pt x="6213" y="18314"/>
                    </a:moveTo>
                    <a:lnTo>
                      <a:pt x="5946" y="18875"/>
                    </a:lnTo>
                    <a:lnTo>
                      <a:pt x="15766" y="18875"/>
                    </a:lnTo>
                    <a:lnTo>
                      <a:pt x="15499" y="18314"/>
                    </a:lnTo>
                    <a:lnTo>
                      <a:pt x="6213" y="18314"/>
                    </a:lnTo>
                    <a:close/>
                  </a:path>
                  <a:path w="21600" h="21600" extrusionOk="0">
                    <a:moveTo>
                      <a:pt x="2828" y="16471"/>
                    </a:moveTo>
                    <a:lnTo>
                      <a:pt x="2405" y="17072"/>
                    </a:lnTo>
                    <a:lnTo>
                      <a:pt x="19284" y="17072"/>
                    </a:lnTo>
                    <a:lnTo>
                      <a:pt x="18839" y="16471"/>
                    </a:lnTo>
                    <a:lnTo>
                      <a:pt x="2828" y="16471"/>
                    </a:lnTo>
                    <a:close/>
                  </a:path>
                  <a:path w="21600" h="21600" extrusionOk="0">
                    <a:moveTo>
                      <a:pt x="2316" y="17352"/>
                    </a:moveTo>
                    <a:lnTo>
                      <a:pt x="1871" y="17953"/>
                    </a:lnTo>
                    <a:lnTo>
                      <a:pt x="19863" y="17953"/>
                    </a:lnTo>
                    <a:lnTo>
                      <a:pt x="19395" y="17352"/>
                    </a:lnTo>
                    <a:lnTo>
                      <a:pt x="2316" y="17352"/>
                    </a:lnTo>
                    <a:close/>
                  </a:path>
                </a:pathLst>
              </a:custGeom>
              <a:solidFill>
                <a:srgbClr val="C0C0C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ea typeface="ＭＳ Ｐゴシック" pitchFamily="34" charset="-128"/>
                </a:endParaRPr>
              </a:p>
            </p:txBody>
          </p:sp>
          <p:pic>
            <p:nvPicPr>
              <p:cNvPr id="1027" name="Picture 3"/>
              <p:cNvPicPr>
                <a:picLocks noChangeAspect="1"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10662" y="3537681"/>
                <a:ext cx="914400" cy="8209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5" name="TextBox 14"/>
            <p:cNvSpPr txBox="1"/>
            <p:nvPr/>
          </p:nvSpPr>
          <p:spPr>
            <a:xfrm>
              <a:off x="2983043" y="3237877"/>
              <a:ext cx="61747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Data</a:t>
              </a:r>
              <a:endParaRPr lang="en-US" sz="16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591454" y="3225385"/>
              <a:ext cx="123303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Commands</a:t>
              </a:r>
              <a:endParaRPr lang="en-US" sz="16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1603949" y="1066800"/>
              <a:ext cx="3120452" cy="1646420"/>
              <a:chOff x="1603949" y="1066800"/>
              <a:chExt cx="3120452" cy="1646420"/>
            </a:xfrm>
          </p:grpSpPr>
          <p:sp>
            <p:nvSpPr>
              <p:cNvPr id="7" name="Cloud 6" title="cloud shape"/>
              <p:cNvSpPr/>
              <p:nvPr/>
            </p:nvSpPr>
            <p:spPr>
              <a:xfrm>
                <a:off x="1603949" y="1066800"/>
                <a:ext cx="3120452" cy="1646420"/>
              </a:xfrm>
              <a:prstGeom prst="cloud">
                <a:avLst/>
              </a:prstGeom>
              <a:solidFill>
                <a:srgbClr val="B0DD7F"/>
              </a:solidFill>
              <a:ln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035" name="Picture 11" descr="http://delphimax.files.wordpress.com/2011/05/stream.jpg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83240" y="1371600"/>
                <a:ext cx="1300986" cy="975740"/>
              </a:xfrm>
              <a:prstGeom prst="rect">
                <a:avLst/>
              </a:prstGeom>
              <a:noFill/>
            </p:spPr>
          </p:pic>
          <p:pic>
            <p:nvPicPr>
              <p:cNvPr id="1031" name="Picture 7" descr="http://www.awicons.com/free-icons/download/application-icons/database-icons-by-barrymieny/png/256/Database%203.png" title="database icons"/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78851" y="1386689"/>
                <a:ext cx="497749" cy="497749"/>
              </a:xfrm>
              <a:prstGeom prst="rect">
                <a:avLst/>
              </a:prstGeom>
              <a:noFill/>
            </p:spPr>
          </p:pic>
          <p:pic>
            <p:nvPicPr>
              <p:cNvPr id="1029" name="Picture 5" descr="picture" title="data picture"/>
              <p:cNvPicPr>
                <a:picLocks noChangeAspect="1" noChangeArrowheads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52800" y="1676400"/>
                <a:ext cx="638574" cy="638575"/>
              </a:xfrm>
              <a:prstGeom prst="rect">
                <a:avLst/>
              </a:prstGeom>
              <a:noFill/>
            </p:spPr>
          </p:pic>
          <p:pic>
            <p:nvPicPr>
              <p:cNvPr id="18" name="Picture 7" descr="http://www.awicons.com/free-icons/download/application-icons/database-icons-by-barrymieny/png/256/Database%203.png" title="database icons"/>
              <p:cNvPicPr>
                <a:picLocks noChangeAspect="1" noChangeArrowheads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46438" y="1579638"/>
                <a:ext cx="553962" cy="553962"/>
              </a:xfrm>
              <a:prstGeom prst="rect">
                <a:avLst/>
              </a:prstGeom>
              <a:noFill/>
            </p:spPr>
          </p:pic>
        </p:grpSp>
        <p:grpSp>
          <p:nvGrpSpPr>
            <p:cNvPr id="66" name="Group 65"/>
            <p:cNvGrpSpPr/>
            <p:nvPr/>
          </p:nvGrpSpPr>
          <p:grpSpPr>
            <a:xfrm>
              <a:off x="2758190" y="3615134"/>
              <a:ext cx="512164" cy="627082"/>
              <a:chOff x="2758190" y="3615134"/>
              <a:chExt cx="512164" cy="627082"/>
            </a:xfrm>
          </p:grpSpPr>
          <p:sp>
            <p:nvSpPr>
              <p:cNvPr id="19" name="Arc 18"/>
              <p:cNvSpPr/>
              <p:nvPr/>
            </p:nvSpPr>
            <p:spPr>
              <a:xfrm>
                <a:off x="2758190" y="407732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Arc 19"/>
              <p:cNvSpPr/>
              <p:nvPr/>
            </p:nvSpPr>
            <p:spPr>
              <a:xfrm>
                <a:off x="2820650" y="391493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Arc 20"/>
              <p:cNvSpPr/>
              <p:nvPr/>
            </p:nvSpPr>
            <p:spPr>
              <a:xfrm>
                <a:off x="2883110" y="375254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Arc 21"/>
              <p:cNvSpPr/>
              <p:nvPr/>
            </p:nvSpPr>
            <p:spPr>
              <a:xfrm>
                <a:off x="2940570" y="361513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3" name="Arc 22"/>
            <p:cNvSpPr/>
            <p:nvPr/>
          </p:nvSpPr>
          <p:spPr>
            <a:xfrm>
              <a:off x="3107960" y="3167934"/>
              <a:ext cx="329784" cy="164892"/>
            </a:xfrm>
            <a:prstGeom prst="arc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</a:endParaRPr>
            </a:p>
          </p:txBody>
        </p:sp>
        <p:sp>
          <p:nvSpPr>
            <p:cNvPr id="24" name="Arc 23"/>
            <p:cNvSpPr/>
            <p:nvPr/>
          </p:nvSpPr>
          <p:spPr>
            <a:xfrm>
              <a:off x="3170420" y="3005544"/>
              <a:ext cx="329784" cy="164892"/>
            </a:xfrm>
            <a:prstGeom prst="arc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</a:endParaRPr>
            </a:p>
          </p:txBody>
        </p:sp>
        <p:cxnSp>
          <p:nvCxnSpPr>
            <p:cNvPr id="26" name="Straight Arrow Connector 25"/>
            <p:cNvCxnSpPr/>
            <p:nvPr/>
          </p:nvCxnSpPr>
          <p:spPr>
            <a:xfrm rot="5400000" flipH="1" flipV="1">
              <a:off x="3237875" y="2938073"/>
              <a:ext cx="419726" cy="179882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28"/>
            <p:cNvGrpSpPr/>
            <p:nvPr/>
          </p:nvGrpSpPr>
          <p:grpSpPr>
            <a:xfrm flipH="1" flipV="1">
              <a:off x="2011190" y="2610791"/>
              <a:ext cx="779489" cy="1424065"/>
              <a:chOff x="2758190" y="2818151"/>
              <a:chExt cx="779489" cy="1424065"/>
            </a:xfrm>
          </p:grpSpPr>
          <p:sp>
            <p:nvSpPr>
              <p:cNvPr id="30" name="Arc 29"/>
              <p:cNvSpPr/>
              <p:nvPr/>
            </p:nvSpPr>
            <p:spPr>
              <a:xfrm>
                <a:off x="2758190" y="407732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Arc 30"/>
              <p:cNvSpPr/>
              <p:nvPr/>
            </p:nvSpPr>
            <p:spPr>
              <a:xfrm>
                <a:off x="2820650" y="391493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Arc 31"/>
              <p:cNvSpPr/>
              <p:nvPr/>
            </p:nvSpPr>
            <p:spPr>
              <a:xfrm>
                <a:off x="2883110" y="375254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Arc 32"/>
              <p:cNvSpPr/>
              <p:nvPr/>
            </p:nvSpPr>
            <p:spPr>
              <a:xfrm>
                <a:off x="2940570" y="361513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Arc 33"/>
              <p:cNvSpPr/>
              <p:nvPr/>
            </p:nvSpPr>
            <p:spPr>
              <a:xfrm>
                <a:off x="3107960" y="316793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Arc 34"/>
              <p:cNvSpPr/>
              <p:nvPr/>
            </p:nvSpPr>
            <p:spPr>
              <a:xfrm>
                <a:off x="3170420" y="3005544"/>
                <a:ext cx="329784" cy="164892"/>
              </a:xfrm>
              <a:prstGeom prst="arc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36" name="Straight Arrow Connector 35"/>
              <p:cNvCxnSpPr/>
              <p:nvPr/>
            </p:nvCxnSpPr>
            <p:spPr>
              <a:xfrm rot="5400000" flipH="1" flipV="1">
                <a:off x="3237875" y="2938073"/>
                <a:ext cx="419726" cy="179882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8" name="Straight Arrow Connector 37"/>
            <p:cNvCxnSpPr/>
            <p:nvPr/>
          </p:nvCxnSpPr>
          <p:spPr>
            <a:xfrm>
              <a:off x="5006715" y="2413416"/>
              <a:ext cx="1274164" cy="1199214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5476409" y="1758847"/>
              <a:ext cx="1430584" cy="132343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Analysis</a:t>
              </a:r>
              <a:b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</a:b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Reports</a:t>
              </a:r>
              <a:b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</a:b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Insights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Transparency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Auditing</a:t>
              </a:r>
              <a:endParaRPr lang="en-US" sz="16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6250899" y="3327816"/>
              <a:ext cx="1663908" cy="1229193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304432" y="3000533"/>
              <a:ext cx="138210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u="sng" dirty="0" smtClean="0">
                  <a:solidFill>
                    <a:srgbClr val="000000"/>
                  </a:solidFill>
                  <a:ea typeface="ＭＳ Ｐゴシック" pitchFamily="34" charset="-128"/>
                </a:rPr>
                <a:t>Management</a:t>
              </a:r>
            </a:p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u="sng" dirty="0" smtClean="0">
                  <a:solidFill>
                    <a:srgbClr val="000000"/>
                  </a:solidFill>
                  <a:ea typeface="ＭＳ Ｐゴシック" pitchFamily="34" charset="-128"/>
                </a:rPr>
                <a:t>Console</a:t>
              </a:r>
              <a:endParaRPr lang="en-US" sz="1600" u="sng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33400" y="1676400"/>
              <a:ext cx="118814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u="sng" dirty="0" smtClean="0">
                  <a:solidFill>
                    <a:srgbClr val="000000"/>
                  </a:solidFill>
                  <a:ea typeface="ＭＳ Ｐゴシック" pitchFamily="34" charset="-128"/>
                </a:rPr>
                <a:t>Command </a:t>
              </a:r>
              <a:br>
                <a:rPr lang="en-US" sz="1600" u="sng" dirty="0" smtClean="0">
                  <a:solidFill>
                    <a:srgbClr val="000000"/>
                  </a:solidFill>
                  <a:ea typeface="ＭＳ Ｐゴシック" pitchFamily="34" charset="-128"/>
                </a:rPr>
              </a:br>
              <a:r>
                <a:rPr lang="en-US" sz="1600" u="sng" dirty="0" smtClean="0">
                  <a:solidFill>
                    <a:srgbClr val="000000"/>
                  </a:solidFill>
                  <a:ea typeface="ＭＳ Ｐゴシック" pitchFamily="34" charset="-128"/>
                </a:rPr>
                <a:t>Center</a:t>
              </a:r>
              <a:endParaRPr lang="en-US" sz="1600" u="sng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329784" y="4002373"/>
              <a:ext cx="3297837" cy="2113613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87179" y="6064770"/>
              <a:ext cx="92525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u="sng" dirty="0" smtClean="0">
                  <a:solidFill>
                    <a:srgbClr val="000000"/>
                  </a:solidFill>
                  <a:ea typeface="ＭＳ Ｐゴシック" pitchFamily="34" charset="-128"/>
                </a:rPr>
                <a:t>Stations</a:t>
              </a:r>
              <a:endParaRPr lang="en-US" sz="1600" u="sng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cxnSp>
          <p:nvCxnSpPr>
            <p:cNvPr id="45" name="Straight Arrow Connector 44"/>
            <p:cNvCxnSpPr/>
            <p:nvPr/>
          </p:nvCxnSpPr>
          <p:spPr>
            <a:xfrm rot="16200000" flipV="1">
              <a:off x="2585803" y="5853659"/>
              <a:ext cx="509666" cy="224852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/>
            <p:cNvCxnSpPr/>
            <p:nvPr/>
          </p:nvCxnSpPr>
          <p:spPr>
            <a:xfrm rot="16200000" flipV="1">
              <a:off x="2788171" y="5936105"/>
              <a:ext cx="527154" cy="77449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/>
          </p:nvSpPr>
          <p:spPr>
            <a:xfrm>
              <a:off x="2408419" y="6172200"/>
              <a:ext cx="134684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Components</a:t>
              </a:r>
              <a:endParaRPr lang="en-US" sz="16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404360" y="5124271"/>
              <a:ext cx="449580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ea typeface="ＭＳ Ｐゴシック" pitchFamily="34" charset="-128"/>
                </a:rPr>
                <a:t>Software Service     permeates the entire System, including:</a:t>
              </a:r>
            </a:p>
            <a:p>
              <a:pPr marL="165100" indent="-1651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</a:pPr>
              <a:r>
                <a:rPr lang="en-US" sz="1200" dirty="0" smtClean="0">
                  <a:solidFill>
                    <a:srgbClr val="000000"/>
                  </a:solidFill>
                  <a:ea typeface="ＭＳ Ｐゴシック" pitchFamily="34" charset="-128"/>
                </a:rPr>
                <a:t>The Management </a:t>
              </a:r>
              <a:r>
                <a:rPr lang="en-US" sz="1200" dirty="0">
                  <a:solidFill>
                    <a:srgbClr val="000000"/>
                  </a:solidFill>
                  <a:ea typeface="ＭＳ Ｐゴシック" pitchFamily="34" charset="-128"/>
                </a:rPr>
                <a:t>C</a:t>
              </a:r>
              <a:r>
                <a:rPr lang="en-US" sz="1200" dirty="0" smtClean="0">
                  <a:solidFill>
                    <a:srgbClr val="000000"/>
                  </a:solidFill>
                  <a:ea typeface="ＭＳ Ｐゴシック" pitchFamily="34" charset="-128"/>
                </a:rPr>
                <a:t>onsole, driven by data stored and analyzed in the Command Center</a:t>
              </a:r>
            </a:p>
            <a:p>
              <a:pPr marL="165100" indent="-1651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</a:pPr>
              <a:r>
                <a:rPr lang="en-US" sz="1200" dirty="0" smtClean="0">
                  <a:solidFill>
                    <a:srgbClr val="000000"/>
                  </a:solidFill>
                  <a:ea typeface="ＭＳ Ｐゴシック" pitchFamily="34" charset="-128"/>
                </a:rPr>
                <a:t>The functions of the Stations, based on data analyzed and commands given by the Command Center</a:t>
              </a:r>
            </a:p>
            <a:p>
              <a:pPr marL="165100" indent="-1651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</a:pPr>
              <a:r>
                <a:rPr lang="en-US" sz="1200" dirty="0" smtClean="0">
                  <a:solidFill>
                    <a:srgbClr val="000000"/>
                  </a:solidFill>
                  <a:ea typeface="ＭＳ Ｐゴシック" pitchFamily="34" charset="-128"/>
                </a:rPr>
                <a:t>Software helpdesk support</a:t>
              </a:r>
              <a:endParaRPr lang="en-US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36" name="5-Point Star 19"/>
            <p:cNvSpPr>
              <a:spLocks/>
            </p:cNvSpPr>
            <p:nvPr/>
          </p:nvSpPr>
          <p:spPr bwMode="auto">
            <a:xfrm>
              <a:off x="5677219" y="5001102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2" name="5-Point Star 19"/>
            <p:cNvSpPr>
              <a:spLocks/>
            </p:cNvSpPr>
            <p:nvPr/>
          </p:nvSpPr>
          <p:spPr bwMode="auto">
            <a:xfrm>
              <a:off x="7445059" y="4130040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3" name="5-Point Star 19"/>
            <p:cNvSpPr>
              <a:spLocks/>
            </p:cNvSpPr>
            <p:nvPr/>
          </p:nvSpPr>
          <p:spPr bwMode="auto">
            <a:xfrm>
              <a:off x="4549459" y="1981200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" name="5-Point Star 19"/>
            <p:cNvSpPr>
              <a:spLocks/>
            </p:cNvSpPr>
            <p:nvPr/>
          </p:nvSpPr>
          <p:spPr bwMode="auto">
            <a:xfrm>
              <a:off x="3055939" y="4770120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" name="5-Point Star 19"/>
            <p:cNvSpPr>
              <a:spLocks/>
            </p:cNvSpPr>
            <p:nvPr/>
          </p:nvSpPr>
          <p:spPr bwMode="auto">
            <a:xfrm>
              <a:off x="2705419" y="4693920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" name="5-Point Star 19"/>
            <p:cNvSpPr>
              <a:spLocks/>
            </p:cNvSpPr>
            <p:nvPr/>
          </p:nvSpPr>
          <p:spPr bwMode="auto">
            <a:xfrm>
              <a:off x="1943419" y="4038600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7" name="5-Point Star 19"/>
            <p:cNvSpPr>
              <a:spLocks/>
            </p:cNvSpPr>
            <p:nvPr/>
          </p:nvSpPr>
          <p:spPr bwMode="auto">
            <a:xfrm>
              <a:off x="1547179" y="3977640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8" name="5-Point Star 19"/>
            <p:cNvSpPr>
              <a:spLocks/>
            </p:cNvSpPr>
            <p:nvPr/>
          </p:nvSpPr>
          <p:spPr bwMode="auto">
            <a:xfrm>
              <a:off x="1821499" y="5059680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60" name="5-Point Star 19"/>
            <p:cNvSpPr>
              <a:spLocks/>
            </p:cNvSpPr>
            <p:nvPr/>
          </p:nvSpPr>
          <p:spPr bwMode="auto">
            <a:xfrm>
              <a:off x="1379539" y="4968240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pic>
          <p:nvPicPr>
            <p:cNvPr id="1038" name="Picture 14" descr="support help photo" title="customer service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0400" y="1163810"/>
              <a:ext cx="1645920" cy="917371"/>
            </a:xfrm>
            <a:prstGeom prst="rect">
              <a:avLst/>
            </a:prstGeom>
            <a:noFill/>
          </p:spPr>
        </p:pic>
        <p:sp>
          <p:nvSpPr>
            <p:cNvPr id="62" name="5-Point Star 19"/>
            <p:cNvSpPr>
              <a:spLocks/>
            </p:cNvSpPr>
            <p:nvPr/>
          </p:nvSpPr>
          <p:spPr bwMode="auto">
            <a:xfrm>
              <a:off x="7064059" y="1242982"/>
              <a:ext cx="235902" cy="232093"/>
            </a:xfrm>
            <a:custGeom>
              <a:avLst/>
              <a:gdLst>
                <a:gd name="T0" fmla="*/ 0 w 306705"/>
                <a:gd name="T1" fmla="*/ 122729 h 321310"/>
                <a:gd name="T2" fmla="*/ 117152 w 306705"/>
                <a:gd name="T3" fmla="*/ 122730 h 321310"/>
                <a:gd name="T4" fmla="*/ 153353 w 306705"/>
                <a:gd name="T5" fmla="*/ 0 h 321310"/>
                <a:gd name="T6" fmla="*/ 189553 w 306705"/>
                <a:gd name="T7" fmla="*/ 122730 h 321310"/>
                <a:gd name="T8" fmla="*/ 306705 w 306705"/>
                <a:gd name="T9" fmla="*/ 122729 h 321310"/>
                <a:gd name="T10" fmla="*/ 211927 w 306705"/>
                <a:gd name="T11" fmla="*/ 198580 h 321310"/>
                <a:gd name="T12" fmla="*/ 248129 w 306705"/>
                <a:gd name="T13" fmla="*/ 321309 h 321310"/>
                <a:gd name="T14" fmla="*/ 153353 w 306705"/>
                <a:gd name="T15" fmla="*/ 245457 h 321310"/>
                <a:gd name="T16" fmla="*/ 58576 w 306705"/>
                <a:gd name="T17" fmla="*/ 321309 h 321310"/>
                <a:gd name="T18" fmla="*/ 94778 w 306705"/>
                <a:gd name="T19" fmla="*/ 198580 h 321310"/>
                <a:gd name="T20" fmla="*/ 0 w 306705"/>
                <a:gd name="T21" fmla="*/ 122729 h 3213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06705" h="321310">
                  <a:moveTo>
                    <a:pt x="0" y="122729"/>
                  </a:moveTo>
                  <a:lnTo>
                    <a:pt x="117152" y="122730"/>
                  </a:lnTo>
                  <a:lnTo>
                    <a:pt x="153353" y="0"/>
                  </a:lnTo>
                  <a:lnTo>
                    <a:pt x="189553" y="122730"/>
                  </a:lnTo>
                  <a:lnTo>
                    <a:pt x="306705" y="122729"/>
                  </a:lnTo>
                  <a:lnTo>
                    <a:pt x="211927" y="198580"/>
                  </a:lnTo>
                  <a:lnTo>
                    <a:pt x="248129" y="321309"/>
                  </a:lnTo>
                  <a:lnTo>
                    <a:pt x="153353" y="245457"/>
                  </a:lnTo>
                  <a:lnTo>
                    <a:pt x="58576" y="321309"/>
                  </a:lnTo>
                  <a:lnTo>
                    <a:pt x="94778" y="198580"/>
                  </a:lnTo>
                  <a:lnTo>
                    <a:pt x="0" y="1227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727179" y="2099846"/>
              <a:ext cx="90281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Support</a:t>
              </a:r>
              <a:endParaRPr lang="en-US" sz="16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cxnSp>
          <p:nvCxnSpPr>
            <p:cNvPr id="61" name="Straight Arrow Connector 60"/>
            <p:cNvCxnSpPr/>
            <p:nvPr/>
          </p:nvCxnSpPr>
          <p:spPr>
            <a:xfrm flipH="1" flipV="1">
              <a:off x="4826926" y="2610791"/>
              <a:ext cx="1360606" cy="1293475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/>
            <p:cNvSpPr txBox="1"/>
            <p:nvPr/>
          </p:nvSpPr>
          <p:spPr>
            <a:xfrm>
              <a:off x="4826926" y="3198146"/>
              <a:ext cx="981102" cy="107721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Remote</a:t>
              </a:r>
              <a:b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</a:b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Settings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Inventory</a:t>
              </a:r>
              <a:b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</a:br>
              <a:r>
                <a:rPr lang="en-US" sz="1600" dirty="0" smtClean="0">
                  <a:solidFill>
                    <a:srgbClr val="000000"/>
                  </a:solidFill>
                  <a:ea typeface="ＭＳ Ｐゴシック" pitchFamily="34" charset="-128"/>
                </a:rPr>
                <a:t>Mgmt</a:t>
              </a:r>
              <a:endParaRPr lang="en-US" sz="1600" dirty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0654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274638"/>
            <a:ext cx="8229600" cy="114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3600" smtClean="0"/>
              <a:t>Solar – The German Experienc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28800" y="1981200"/>
            <a:ext cx="6858000" cy="4144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2800" smtClean="0">
                <a:latin typeface="Arial" charset="0"/>
              </a:rPr>
              <a:t>In 1999, 32MW; in 2012, 30,000MW = to 13 nuclear plants</a:t>
            </a:r>
          </a:p>
          <a:p>
            <a:r>
              <a:rPr lang="en-US" sz="2800" smtClean="0">
                <a:latin typeface="Arial" charset="0"/>
              </a:rPr>
              <a:t>Renewables of all kinds = 25% of power into grid compared to 6% in US</a:t>
            </a:r>
          </a:p>
          <a:p>
            <a:endParaRPr lang="en-US" sz="2800" smtClean="0">
              <a:latin typeface="Arial Unicode MS" pitchFamily="34" charset="-128"/>
            </a:endParaRPr>
          </a:p>
        </p:txBody>
      </p:sp>
      <p:pic>
        <p:nvPicPr>
          <p:cNvPr id="6148" name="Picture 4" descr="chart showing germany electricity generation" title="German Experience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00" y="4038600"/>
            <a:ext cx="5591175" cy="2506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07A5C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612397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9295" y="356600"/>
            <a:ext cx="6686715" cy="757130"/>
          </a:xfrm>
        </p:spPr>
        <p:txBody>
          <a:bodyPr/>
          <a:lstStyle/>
          <a:p>
            <a:r>
              <a:rPr lang="en-US" dirty="0" smtClean="0"/>
              <a:t>Information is the Answer – delivering visibility, transparency and control</a:t>
            </a:r>
            <a:endParaRPr lang="en-US" dirty="0"/>
          </a:p>
        </p:txBody>
      </p:sp>
      <p:pic>
        <p:nvPicPr>
          <p:cNvPr id="1026" name="Picture 2" descr="showing collections" title="Overview of Chicag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930" y="1508750"/>
            <a:ext cx="7567590" cy="4839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99657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5675" y="356600"/>
            <a:ext cx="6840335" cy="757130"/>
          </a:xfrm>
        </p:spPr>
        <p:txBody>
          <a:bodyPr/>
          <a:lstStyle/>
          <a:p>
            <a:r>
              <a:rPr lang="en-US" dirty="0" smtClean="0"/>
              <a:t>The BigBelly System: slashing collections using information tools and software-enabled stations</a:t>
            </a:r>
            <a:endParaRPr lang="en-US" dirty="0"/>
          </a:p>
        </p:txBody>
      </p:sp>
      <p:graphicFrame>
        <p:nvGraphicFramePr>
          <p:cNvPr id="4" name="Content Placeholder 3" descr="weekly collection data" title="chart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7724743"/>
              </p:ext>
            </p:extLst>
          </p:nvPr>
        </p:nvGraphicFramePr>
        <p:xfrm>
          <a:off x="990600" y="1981200"/>
          <a:ext cx="6172200" cy="381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ight Brace 5"/>
          <p:cNvSpPr/>
          <p:nvPr/>
        </p:nvSpPr>
        <p:spPr bwMode="auto">
          <a:xfrm>
            <a:off x="2779364" y="2819400"/>
            <a:ext cx="381000" cy="1066800"/>
          </a:xfrm>
          <a:prstGeom prst="rightBrac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97490" y="2814520"/>
            <a:ext cx="171072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  <a:t>Power of Information:</a:t>
            </a:r>
            <a:b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</a:br>
            <a: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  <a:t>Wasted Trips for</a:t>
            </a:r>
            <a:b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</a:br>
            <a: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  <a:t> Empty Baskets</a:t>
            </a:r>
            <a:endParaRPr lang="en-US" sz="1400" b="1" i="1" dirty="0">
              <a:solidFill>
                <a:srgbClr val="000000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8" name="Right Brace 7"/>
          <p:cNvSpPr/>
          <p:nvPr/>
        </p:nvSpPr>
        <p:spPr bwMode="auto">
          <a:xfrm>
            <a:off x="4618627" y="3886200"/>
            <a:ext cx="381000" cy="1143000"/>
          </a:xfrm>
          <a:prstGeom prst="rightBrac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941003" y="4120290"/>
            <a:ext cx="1535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  <a:t>Eliminated Trips</a:t>
            </a:r>
            <a:b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</a:br>
            <a: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  <a:t>Due to Compaction</a:t>
            </a:r>
            <a:endParaRPr lang="en-US" sz="1400" b="1" i="1" dirty="0">
              <a:solidFill>
                <a:srgbClr val="000000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0" name="Right Brace 9"/>
          <p:cNvSpPr/>
          <p:nvPr/>
        </p:nvSpPr>
        <p:spPr bwMode="auto">
          <a:xfrm>
            <a:off x="6577829" y="2819400"/>
            <a:ext cx="356371" cy="2514600"/>
          </a:xfrm>
          <a:prstGeom prst="rightBrace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946875" y="3777250"/>
            <a:ext cx="16637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  <a:t>89% Total Reduction </a:t>
            </a:r>
            <a:b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</a:br>
            <a: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  <a:t>w/ BigBelly Solar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i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  <a:t>(70-80%+ are typical)</a:t>
            </a:r>
            <a:endParaRPr lang="en-US" sz="1400" b="1" i="1" dirty="0">
              <a:solidFill>
                <a:srgbClr val="000000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65382" y="1524000"/>
            <a:ext cx="6270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</a:rPr>
              <a:t>Case Study: Densely Populated Urban Environment, Winter 2010-11</a:t>
            </a:r>
            <a:endParaRPr lang="en-US" b="1" dirty="0">
              <a:solidFill>
                <a:srgbClr val="000000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29438" y="5955268"/>
            <a:ext cx="58625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… while </a:t>
            </a:r>
            <a:r>
              <a:rPr lang="en-US" sz="1600" i="1" dirty="0" smtClean="0">
                <a:solidFill>
                  <a:srgbClr val="000000"/>
                </a:solidFill>
                <a:ea typeface="ＭＳ Ｐゴシック" pitchFamily="34" charset="-128"/>
              </a:rPr>
              <a:t>Improving</a:t>
            </a: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 service levels (reduced overflows and litter)</a:t>
            </a:r>
            <a:endParaRPr lang="en-US" sz="16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93069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“A Solution for Every Corner”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31940"/>
            <a:ext cx="7848600" cy="646331"/>
          </a:xfrm>
        </p:spPr>
        <p:txBody>
          <a:bodyPr/>
          <a:lstStyle/>
          <a:p>
            <a:r>
              <a:rPr lang="en-US" sz="2000" dirty="0" smtClean="0"/>
              <a:t>A mix and match family of stations and components to match your specific needs – volumes, stream mix, etc.</a:t>
            </a:r>
            <a:endParaRPr lang="en-US" sz="2000" dirty="0"/>
          </a:p>
        </p:txBody>
      </p:sp>
      <p:sp>
        <p:nvSpPr>
          <p:cNvPr id="4" name="TextBox 3"/>
          <p:cNvSpPr txBox="1"/>
          <p:nvPr/>
        </p:nvSpPr>
        <p:spPr>
          <a:xfrm>
            <a:off x="2651750" y="2243803"/>
            <a:ext cx="412375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solidFill>
                  <a:srgbClr val="000000"/>
                </a:solidFill>
                <a:latin typeface="Cooper Black" pitchFamily="18" charset="0"/>
                <a:ea typeface="ＭＳ Ｐゴシック" pitchFamily="34" charset="-128"/>
              </a:rPr>
              <a:t>BigBelly</a:t>
            </a:r>
            <a:r>
              <a:rPr lang="en-US" sz="2000" dirty="0" smtClean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n-US" sz="2000" b="1" dirty="0" smtClean="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SOLAR COMPACTOR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000000"/>
                </a:solidFill>
                <a:latin typeface="Cooper Black" pitchFamily="18" charset="0"/>
                <a:ea typeface="ＭＳ Ｐゴシック" pitchFamily="34" charset="-128"/>
              </a:rPr>
              <a:t>BigBelly</a:t>
            </a:r>
            <a:r>
              <a:rPr lang="en-US" sz="2000" dirty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n-US" sz="2000" b="1" dirty="0" smtClean="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COMPACTING RECYCLER</a:t>
            </a:r>
            <a:endParaRPr lang="en-US" sz="2000" b="1" dirty="0">
              <a:solidFill>
                <a:srgbClr val="000000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000000"/>
                </a:solidFill>
                <a:latin typeface="Cooper Black" pitchFamily="18" charset="0"/>
                <a:ea typeface="ＭＳ Ｐゴシック" pitchFamily="34" charset="-128"/>
              </a:rPr>
              <a:t>SmartBelly</a:t>
            </a:r>
            <a:r>
              <a:rPr lang="en-US" sz="2000" dirty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n-US" sz="2000" b="1" dirty="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FOR WAST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000000"/>
                </a:solidFill>
                <a:latin typeface="Cooper Black" pitchFamily="18" charset="0"/>
                <a:ea typeface="ＭＳ Ｐゴシック" pitchFamily="34" charset="-128"/>
              </a:rPr>
              <a:t>SmartBelly</a:t>
            </a:r>
            <a:r>
              <a:rPr lang="en-US" sz="2000" dirty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n-US" sz="2000" b="1" dirty="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FOR RECYCLING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 smtClean="0">
              <a:solidFill>
                <a:srgbClr val="000000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000000"/>
              </a:solidFill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pic>
        <p:nvPicPr>
          <p:cNvPr id="5" name="Picture 4" descr="solar collection drawings" title="big belly compactors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75" y="3621026"/>
            <a:ext cx="2017880" cy="1851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6" descr="solar collection drawings" title="big belly compactor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9800" y="3621025"/>
            <a:ext cx="1831278" cy="1851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5" descr="solar collection drawings" title="big belly compactors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3400" y="3621025"/>
            <a:ext cx="1826845" cy="1851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solar collection drawings" title="big belly compactors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5769" y="3621025"/>
            <a:ext cx="1424231" cy="1851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 descr="solar collection drawings" title="big belly compactors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7553" y="3621027"/>
            <a:ext cx="1400247" cy="185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01070" y="5733300"/>
            <a:ext cx="82570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With active software service contracts required to enable information management and core station functionality (e.g., compaction, sensing  and communications)</a:t>
            </a:r>
            <a:endParaRPr lang="en-US" sz="16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93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6"/>
          <p:cNvSpPr txBox="1">
            <a:spLocks noChangeArrowheads="1"/>
          </p:cNvSpPr>
          <p:nvPr/>
        </p:nvSpPr>
        <p:spPr bwMode="auto">
          <a:xfrm>
            <a:off x="2286000" y="457200"/>
            <a:ext cx="6629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 smtClean="0">
                <a:solidFill>
                  <a:srgbClr val="FF8000"/>
                </a:solidFill>
                <a:latin typeface="Helvetica"/>
                <a:ea typeface="ＭＳ Ｐゴシック" pitchFamily="34" charset="-128"/>
              </a:rPr>
              <a:t>Capture your company’s imagination by customizing Imagery and Messag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381000" y="5349250"/>
            <a:ext cx="8229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0" dirty="0" smtClean="0">
                <a:solidFill>
                  <a:srgbClr val="000000"/>
                </a:solidFill>
                <a:ea typeface="ＭＳ Ｐゴシック" pitchFamily="34" charset="-128"/>
              </a:rPr>
              <a:t>A highly visible street-level user Engagement Platform, with sponsorship and advertising options for communities who have that interest (or financial need)</a:t>
            </a:r>
            <a:endParaRPr lang="en-US" kern="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9218" name="Picture 2" descr="from various cities" title="Photos of collections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8911" y="1790700"/>
            <a:ext cx="2338374" cy="2867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219" name="Picture 3" descr="from various cities" title="Photos of collection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82180" y="1815046"/>
            <a:ext cx="3023015" cy="2842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6" name="Picture 2" descr="from various cities" title="Photos of collections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6285" y="1815990"/>
            <a:ext cx="2205665" cy="28145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66584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6"/>
          <p:cNvSpPr txBox="1">
            <a:spLocks noChangeArrowheads="1"/>
          </p:cNvSpPr>
          <p:nvPr/>
        </p:nvSpPr>
        <p:spPr bwMode="auto">
          <a:xfrm>
            <a:off x="2152486" y="510220"/>
            <a:ext cx="606799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kern="0" dirty="0" smtClean="0">
                <a:solidFill>
                  <a:srgbClr val="FF8000"/>
                </a:solidFill>
                <a:latin typeface="Helvetica"/>
                <a:ea typeface="ＭＳ Ｐゴシック" pitchFamily="34" charset="-128"/>
              </a:rPr>
              <a:t>The BigBelly System will be a highly-visible “early win” in your sustainability program</a:t>
            </a:r>
            <a:endParaRPr lang="en-US" sz="2400" kern="0" dirty="0">
              <a:solidFill>
                <a:srgbClr val="FF8000"/>
              </a:solidFill>
              <a:latin typeface="Helvetica"/>
              <a:ea typeface="ＭＳ Ｐゴシック" pitchFamily="34" charset="-128"/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39475" y="1854395"/>
            <a:ext cx="5422400" cy="384720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>
                <a:ea typeface="ＭＳ Ｐゴシック" pitchFamily="34" charset="-128"/>
              </a:rPr>
              <a:t>Eye-level solar panels are attention magnets 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>
                <a:ea typeface="ＭＳ Ｐゴシック" pitchFamily="34" charset="-128"/>
              </a:rPr>
              <a:t>Visible demonstration of your sustainability commitment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>
                <a:ea typeface="ＭＳ Ｐゴシック" pitchFamily="34" charset="-128"/>
              </a:rPr>
              <a:t>Visible in ways that your rooftop solar, HVAC efficiency and LED lighting </a:t>
            </a:r>
            <a:r>
              <a:rPr lang="en-US" sz="1600" dirty="0" err="1" smtClean="0">
                <a:ea typeface="ＭＳ Ｐゴシック" pitchFamily="34" charset="-128"/>
              </a:rPr>
              <a:t>changeouts</a:t>
            </a:r>
            <a:r>
              <a:rPr lang="en-US" sz="1600" dirty="0" smtClean="0">
                <a:ea typeface="ＭＳ Ｐゴシック" pitchFamily="34" charset="-128"/>
              </a:rPr>
              <a:t> aren’t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>
                <a:ea typeface="ＭＳ Ｐゴシック" pitchFamily="34" charset="-128"/>
              </a:rPr>
              <a:t>Messaging panels can cross-promote your other green initiatives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600" dirty="0" smtClean="0">
                <a:ea typeface="ＭＳ Ｐゴシック" pitchFamily="34" charset="-128"/>
              </a:rPr>
              <a:t>Receive credit for your sustainability actions!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>
                <a:ea typeface="ＭＳ Ｐゴシック" pitchFamily="34" charset="-128"/>
              </a:rPr>
              <a:t>Provide operational and financial “quick wins” that can generate momentum for other programs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>
                <a:ea typeface="ＭＳ Ｐゴシック" pitchFamily="34" charset="-128"/>
              </a:rPr>
              <a:t>Cleaner streets, parks, waterways, etc.</a:t>
            </a:r>
          </a:p>
        </p:txBody>
      </p:sp>
      <p:pic>
        <p:nvPicPr>
          <p:cNvPr id="6" name="Picture 4" descr="showing big belly solar can" title="eye level solar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8630" y="1739180"/>
            <a:ext cx="2255837" cy="239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8" name="Straight Connector 7"/>
          <p:cNvCxnSpPr/>
          <p:nvPr/>
        </p:nvCxnSpPr>
        <p:spPr bwMode="auto">
          <a:xfrm flipV="1">
            <a:off x="7337160" y="2392065"/>
            <a:ext cx="384050" cy="268835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8" descr="with big belly solar" title="college campus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605" y="4197100"/>
            <a:ext cx="2457899" cy="184344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034984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381000"/>
            <a:ext cx="6816570" cy="646331"/>
          </a:xfrm>
        </p:spPr>
        <p:txBody>
          <a:bodyPr/>
          <a:lstStyle/>
          <a:p>
            <a:r>
              <a:rPr lang="en-US" dirty="0" smtClean="0"/>
              <a:t>Key System &amp; System Pricing Principles </a:t>
            </a:r>
            <a:br>
              <a:rPr lang="en-US" dirty="0" smtClean="0"/>
            </a:br>
            <a:endParaRPr lang="en-US" baseline="30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65118"/>
            <a:ext cx="8610600" cy="4062651"/>
          </a:xfrm>
          <a:noFill/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/>
              <a:t>System pricing is structured to provide the following benefits: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/>
              <a:t>Volume price breaks are also offered, based on cumulative End Customer footprint. </a:t>
            </a:r>
          </a:p>
          <a:p>
            <a:pPr lvl="2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/>
              <a:t>This change – vs. the prior order-volume based approach – will provide accelerated savings to customers as they grow their </a:t>
            </a:r>
            <a:r>
              <a:rPr lang="en-US" sz="1200" dirty="0" smtClean="0"/>
              <a:t>footprint</a:t>
            </a:r>
            <a:endParaRPr lang="en-US" sz="1400" dirty="0" smtClean="0"/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/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/>
              <a:t>There is a minimum effective scale for the system to function optimally, which is an initial </a:t>
            </a:r>
            <a:r>
              <a:rPr lang="en-US" sz="1400" b="1" dirty="0" smtClean="0"/>
              <a:t>minimum of 5 stations </a:t>
            </a:r>
            <a:r>
              <a:rPr lang="en-US" sz="1400" dirty="0" smtClean="0"/>
              <a:t>per End Customer</a:t>
            </a:r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 smtClean="0"/>
          </a:p>
          <a:p>
            <a:pPr lvl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/>
              <a:t>5 stations also represents a threshold order size for the standard pricing matrix. </a:t>
            </a:r>
          </a:p>
          <a:p>
            <a:pPr lvl="2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/>
              <a:t>Once an End Customer achieves minimum scale, they can purchase subsequent stations at quantities lower than 5 stations, but a 20% upcharge (relative to the End Customer’s position on the pricing matrix of term length and cumulative volume) will apply for orders of fewer than 5 stations due to higher BigBelly processing costs</a:t>
            </a:r>
          </a:p>
        </p:txBody>
      </p:sp>
    </p:spTree>
    <p:extLst>
      <p:ext uri="{BB962C8B-B14F-4D97-AF65-F5344CB8AC3E}">
        <p14:creationId xmlns:p14="http://schemas.microsoft.com/office/powerpoint/2010/main" val="291585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0070C0"/>
                </a:solidFill>
              </a:rPr>
              <a:t>JM Family Enterprises:</a:t>
            </a:r>
            <a:br>
              <a:rPr lang="en-US" b="1" dirty="0" smtClean="0">
                <a:solidFill>
                  <a:srgbClr val="0070C0"/>
                </a:solidFill>
              </a:rPr>
            </a:br>
            <a:r>
              <a:rPr lang="en-US" b="1" dirty="0" smtClean="0">
                <a:solidFill>
                  <a:srgbClr val="0070C0"/>
                </a:solidFill>
              </a:rPr>
              <a:t>Local Business Leader in Sustainability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27237"/>
            <a:ext cx="8229600" cy="4525963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Erik Jacobsen</a:t>
            </a:r>
          </a:p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JM Family Enterprises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035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6"/>
          <p:cNvSpPr txBox="1">
            <a:spLocks noGrp="1" noChangeArrowheads="1"/>
          </p:cNvSpPr>
          <p:nvPr/>
        </p:nvSpPr>
        <p:spPr bwMode="auto">
          <a:xfrm>
            <a:off x="7010400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pic>
        <p:nvPicPr>
          <p:cNvPr id="15" name="Picture 2" descr="moving in a greener direction" title="JM Family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2056606" y="4581150"/>
            <a:ext cx="5030788" cy="149665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1524000" y="152400"/>
            <a:ext cx="5867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 smtClean="0">
                <a:solidFill>
                  <a:srgbClr val="002060"/>
                </a:solidFill>
              </a:rPr>
              <a:t> </a:t>
            </a:r>
            <a:endParaRPr lang="en-US" sz="4400" dirty="0" smtClean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1070" y="1295400"/>
            <a:ext cx="8180265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 smtClean="0">
                <a:solidFill>
                  <a:prstClr val="black"/>
                </a:solidFill>
                <a:latin typeface="Blade Runner Movie Font"/>
              </a:rPr>
              <a:t>JM Family Enterprise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 b="1" dirty="0" smtClean="0">
              <a:solidFill>
                <a:prstClr val="black"/>
              </a:solidFill>
              <a:latin typeface="Blade Runner Movie Font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 smtClean="0">
                <a:solidFill>
                  <a:prstClr val="black"/>
                </a:solidFill>
                <a:latin typeface="Blade Runner Movie Font"/>
              </a:rPr>
              <a:t>Solar Projects</a:t>
            </a:r>
            <a:endParaRPr lang="en-US" sz="4000" b="1" dirty="0">
              <a:solidFill>
                <a:prstClr val="black"/>
              </a:solidFill>
              <a:latin typeface="Blade Runner Movie Fon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11622" y="3429000"/>
            <a:ext cx="3520755" cy="5831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 smtClean="0">
                <a:solidFill>
                  <a:prstClr val="black"/>
                </a:solidFill>
                <a:latin typeface="Blade Runner Movie Font"/>
              </a:rPr>
              <a:t>January 25, 2013</a:t>
            </a:r>
            <a:endParaRPr lang="en-US" sz="3200" dirty="0">
              <a:solidFill>
                <a:prstClr val="black"/>
              </a:solidFill>
              <a:latin typeface="Blade Runner Movie Font"/>
            </a:endParaRPr>
          </a:p>
        </p:txBody>
      </p:sp>
    </p:spTree>
    <p:extLst>
      <p:ext uri="{BB962C8B-B14F-4D97-AF65-F5344CB8AC3E}">
        <p14:creationId xmlns:p14="http://schemas.microsoft.com/office/powerpoint/2010/main" val="3244708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14815" y="1623965"/>
            <a:ext cx="560713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Blade Runner Movie Font"/>
              </a:rPr>
              <a:t>JM Family’s commitment to Environmental Sustainability has called for an increased use of renewable energy sources for electricity.</a:t>
            </a:r>
            <a:endParaRPr lang="en-US" sz="2400" dirty="0">
              <a:solidFill>
                <a:prstClr val="black"/>
              </a:solidFill>
              <a:latin typeface="Blade Runner Movie Fon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303165" y="3889860"/>
            <a:ext cx="39941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Blade Runner Movie Font"/>
              </a:rPr>
              <a:t>Solar Power continues to be an attractive means for meeting our goals.</a:t>
            </a:r>
            <a:endParaRPr lang="en-US" sz="2400" dirty="0">
              <a:solidFill>
                <a:prstClr val="black"/>
              </a:solidFill>
              <a:latin typeface="Blade Runner Movie Fon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00335" y="241385"/>
            <a:ext cx="718173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400" dirty="0" smtClean="0">
                <a:solidFill>
                  <a:prstClr val="black"/>
                </a:solidFill>
              </a:rPr>
              <a:t>Driving the Vision</a:t>
            </a:r>
            <a:endParaRPr lang="en-US" sz="4400" dirty="0">
              <a:solidFill>
                <a:prstClr val="black"/>
              </a:solidFill>
            </a:endParaRPr>
          </a:p>
        </p:txBody>
      </p:sp>
      <p:pic>
        <p:nvPicPr>
          <p:cNvPr id="6" name="Picture 5" descr="pixel77-free-vector-renewable-energy-icon-600 cropped.jpg" title="light bulb art"/>
          <p:cNvPicPr>
            <a:picLocks noChangeAspect="1"/>
          </p:cNvPicPr>
          <p:nvPr/>
        </p:nvPicPr>
        <p:blipFill>
          <a:blip r:embed="rId3" cstate="email">
            <a:clrChange>
              <a:clrFrom>
                <a:srgbClr val="EDEDED"/>
              </a:clrFrom>
              <a:clrTo>
                <a:srgbClr val="EDEDE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691625" y="3198570"/>
            <a:ext cx="2726755" cy="2910996"/>
          </a:xfrm>
          <a:prstGeom prst="rect">
            <a:avLst/>
          </a:prstGeom>
          <a:effectLst/>
          <a:scene3d>
            <a:camera prst="orthographicFront"/>
            <a:lightRig rig="threePt" dir="t"/>
          </a:scene3d>
          <a:sp3d prstMaterial="flat"/>
        </p:spPr>
      </p:pic>
    </p:spTree>
    <p:extLst>
      <p:ext uri="{BB962C8B-B14F-4D97-AF65-F5344CB8AC3E}">
        <p14:creationId xmlns:p14="http://schemas.microsoft.com/office/powerpoint/2010/main" val="397313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642149" y="126170"/>
            <a:ext cx="38597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4400" dirty="0" smtClean="0">
                <a:solidFill>
                  <a:prstClr val="black"/>
                </a:solidFill>
              </a:rPr>
              <a:t>Alpharetta, GA</a:t>
            </a:r>
          </a:p>
        </p:txBody>
      </p:sp>
      <p:pic>
        <p:nvPicPr>
          <p:cNvPr id="18434" name="Picture 2" descr="Alpharetta Georgia" title="solar on roof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1326778" y="1278320"/>
            <a:ext cx="6490445" cy="50187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17438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3200" b="1" smtClean="0"/>
              <a:t>Solar – The German Experience</a:t>
            </a:r>
            <a:br>
              <a:rPr lang="en-US" sz="3200" b="1" smtClean="0"/>
            </a:br>
            <a:r>
              <a:rPr lang="en-US" sz="3200" b="1" smtClean="0"/>
              <a:t>How?</a:t>
            </a:r>
          </a:p>
        </p:txBody>
      </p:sp>
      <p:pic>
        <p:nvPicPr>
          <p:cNvPr id="7171" name="Picture 4" descr="Germany map for renewable energy" title="map of Germany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1600" y="1600200"/>
            <a:ext cx="4038600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72" name="Rectangle 3"/>
          <p:cNvSpPr>
            <a:spLocks noGrp="1" noChangeArrowheads="1"/>
          </p:cNvSpPr>
          <p:nvPr>
            <p:ph type="body" sz="half" idx="1"/>
          </p:nvPr>
        </p:nvSpPr>
        <p:spPr bwMode="auto">
          <a:xfrm>
            <a:off x="1524000" y="1600200"/>
            <a:ext cx="4038600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sz="2400" smtClean="0">
                <a:latin typeface="Arial" charset="0"/>
              </a:rPr>
              <a:t>Decentralization of the power system - Renewable Energy Act of 2000, known in Germany as the EEG</a:t>
            </a:r>
          </a:p>
          <a:p>
            <a:r>
              <a:rPr lang="en-US" sz="2400" smtClean="0">
                <a:latin typeface="Arial" charset="0"/>
              </a:rPr>
              <a:t>Replace coal and nuclear with goal of 80% by 2050</a:t>
            </a:r>
          </a:p>
          <a:p>
            <a:r>
              <a:rPr lang="en-US" sz="2400" smtClean="0">
                <a:latin typeface="Arial" charset="0"/>
              </a:rPr>
              <a:t>Funded by FiT program – not government funded</a:t>
            </a:r>
          </a:p>
          <a:p>
            <a:endParaRPr lang="en-US" sz="2800" smtClean="0"/>
          </a:p>
        </p:txBody>
      </p:sp>
    </p:spTree>
    <p:extLst>
      <p:ext uri="{BB962C8B-B14F-4D97-AF65-F5344CB8AC3E}">
        <p14:creationId xmlns:p14="http://schemas.microsoft.com/office/powerpoint/2010/main" val="194611780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09045" y="164575"/>
            <a:ext cx="85259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4400" dirty="0" smtClean="0">
                <a:solidFill>
                  <a:prstClr val="black"/>
                </a:solidFill>
              </a:rPr>
              <a:t>JM Lexus Service Center, Margate, F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black"/>
              </a:solidFill>
            </a:endParaRPr>
          </a:p>
        </p:txBody>
      </p:sp>
      <p:pic>
        <p:nvPicPr>
          <p:cNvPr id="18434" name="Picture 2" descr="Margate Florida" title="JM Lexus"/>
          <p:cNvPicPr>
            <a:picLocks noChangeAspect="1" noChangeArrowheads="1"/>
          </p:cNvPicPr>
          <p:nvPr/>
        </p:nvPicPr>
        <p:blipFill>
          <a:blip r:embed="rId3" cstate="email"/>
          <a:stretch>
            <a:fillRect/>
          </a:stretch>
        </p:blipFill>
        <p:spPr bwMode="auto">
          <a:xfrm>
            <a:off x="1326778" y="1612394"/>
            <a:ext cx="6490445" cy="435062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26061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09045" y="164575"/>
            <a:ext cx="85259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400" dirty="0" smtClean="0">
                <a:solidFill>
                  <a:prstClr val="black"/>
                </a:solidFill>
              </a:rPr>
              <a:t>Deerfield Beach, F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black"/>
              </a:solidFill>
            </a:endParaRPr>
          </a:p>
        </p:txBody>
      </p:sp>
      <p:pic>
        <p:nvPicPr>
          <p:cNvPr id="18434" name="Picture 2" descr="Deerfield beach florida" title="solar panels"/>
          <p:cNvPicPr>
            <a:picLocks noChangeAspect="1" noChangeArrowheads="1"/>
          </p:cNvPicPr>
          <p:nvPr/>
        </p:nvPicPr>
        <p:blipFill>
          <a:blip r:embed="rId3" cstate="email"/>
          <a:stretch>
            <a:fillRect/>
          </a:stretch>
        </p:blipFill>
        <p:spPr bwMode="auto">
          <a:xfrm>
            <a:off x="1326778" y="1627606"/>
            <a:ext cx="6490445" cy="432020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84128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09045" y="164575"/>
            <a:ext cx="852590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4400" dirty="0" smtClean="0">
                <a:solidFill>
                  <a:prstClr val="black"/>
                </a:solidFill>
              </a:rPr>
              <a:t>Parking Garage, Deerfield Beach, FL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prstClr val="black"/>
              </a:solidFill>
            </a:endParaRPr>
          </a:p>
        </p:txBody>
      </p:sp>
      <p:pic>
        <p:nvPicPr>
          <p:cNvPr id="18434" name="Picture 2" descr="deerfield beach" title="parking garage"/>
          <p:cNvPicPr>
            <a:picLocks noChangeAspect="1" noChangeArrowheads="1"/>
          </p:cNvPicPr>
          <p:nvPr/>
        </p:nvPicPr>
        <p:blipFill>
          <a:blip r:embed="rId3" cstate="email"/>
          <a:stretch>
            <a:fillRect/>
          </a:stretch>
        </p:blipFill>
        <p:spPr bwMode="auto">
          <a:xfrm>
            <a:off x="1326778" y="1632676"/>
            <a:ext cx="6490445" cy="43100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2001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florida" title="solar panels on roof"/>
          <p:cNvPicPr>
            <a:picLocks noChangeAspect="1" noChangeArrowheads="1"/>
          </p:cNvPicPr>
          <p:nvPr/>
        </p:nvPicPr>
        <p:blipFill>
          <a:blip r:embed="rId3" cstate="email"/>
          <a:stretch>
            <a:fillRect/>
          </a:stretch>
        </p:blipFill>
        <p:spPr bwMode="auto">
          <a:xfrm>
            <a:off x="1691865" y="1627606"/>
            <a:ext cx="5760269" cy="432020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96007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65" y="126170"/>
            <a:ext cx="8229600" cy="806505"/>
          </a:xfrm>
        </p:spPr>
        <p:txBody>
          <a:bodyPr>
            <a:normAutofit fontScale="90000"/>
          </a:bodyPr>
          <a:lstStyle/>
          <a:p>
            <a:r>
              <a:rPr lang="en-US" sz="4900" dirty="0" smtClean="0"/>
              <a:t>JM Lexus New Car Showroom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>
          <a:xfrm>
            <a:off x="4650490" y="2609372"/>
            <a:ext cx="4041775" cy="3522393"/>
          </a:xfrm>
        </p:spPr>
        <p:txBody>
          <a:bodyPr tIns="182880"/>
          <a:lstStyle/>
          <a:p>
            <a:pPr>
              <a:buNone/>
            </a:pPr>
            <a:endParaRPr lang="en-US" sz="2000" dirty="0" smtClean="0">
              <a:latin typeface="Blade Runner Movie Font"/>
            </a:endParaRPr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10241" name="Picture 1" descr="Drawing of showroom" title="New car showroom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665" y="1662370"/>
            <a:ext cx="8233694" cy="4109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6360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 idx="4294967295"/>
          </p:nvPr>
        </p:nvSpPr>
        <p:spPr>
          <a:xfrm>
            <a:off x="539475" y="152400"/>
            <a:ext cx="7988240" cy="609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Environmental Offsets</a:t>
            </a:r>
          </a:p>
        </p:txBody>
      </p:sp>
      <p:sp>
        <p:nvSpPr>
          <p:cNvPr id="33795" name="Text Placeholder 2"/>
          <p:cNvSpPr>
            <a:spLocks noGrp="1"/>
          </p:cNvSpPr>
          <p:nvPr>
            <p:ph type="body" sz="half" idx="4294967295"/>
          </p:nvPr>
        </p:nvSpPr>
        <p:spPr>
          <a:xfrm>
            <a:off x="501070" y="1431940"/>
            <a:ext cx="8077200" cy="99060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91440">
              <a:lnSpc>
                <a:spcPct val="90000"/>
              </a:lnSpc>
              <a:buFontTx/>
              <a:buNone/>
            </a:pPr>
            <a:r>
              <a:rPr lang="en-US" sz="2200" dirty="0" smtClean="0">
                <a:latin typeface="Blade Runner Movie Font"/>
              </a:rPr>
              <a:t>	</a:t>
            </a:r>
            <a:r>
              <a:rPr lang="en-US" sz="2400" dirty="0" smtClean="0">
                <a:latin typeface="Blade Runner Movie Font"/>
              </a:rPr>
              <a:t>A 56.35kW array has the capability to reduce the carbon footprint by 46.7 metric tons of carbon dioxide equivalents which is equal to emissions from:</a:t>
            </a:r>
          </a:p>
          <a:p>
            <a:pPr>
              <a:lnSpc>
                <a:spcPct val="90000"/>
              </a:lnSpc>
              <a:buFontTx/>
              <a:buNone/>
            </a:pPr>
            <a:endParaRPr lang="en-US" sz="2800" dirty="0" smtClean="0">
              <a:latin typeface="Palatino Linotype" pitchFamily="18" charset="0"/>
            </a:endParaRPr>
          </a:p>
          <a:p>
            <a:pPr algn="ctr">
              <a:lnSpc>
                <a:spcPct val="90000"/>
              </a:lnSpc>
              <a:buFontTx/>
              <a:buNone/>
            </a:pPr>
            <a:endParaRPr lang="en-US" sz="1800" dirty="0" smtClean="0">
              <a:latin typeface="Blade Runner Movie Font"/>
            </a:endParaRPr>
          </a:p>
          <a:p>
            <a:pPr>
              <a:lnSpc>
                <a:spcPct val="90000"/>
              </a:lnSpc>
              <a:buFontTx/>
              <a:buNone/>
            </a:pPr>
            <a:endParaRPr lang="en-US" sz="1800" dirty="0" smtClean="0">
              <a:latin typeface="Blade Runner Movie Font"/>
            </a:endParaRPr>
          </a:p>
          <a:p>
            <a:pPr>
              <a:lnSpc>
                <a:spcPct val="90000"/>
              </a:lnSpc>
              <a:buFontTx/>
              <a:buNone/>
            </a:pPr>
            <a:endParaRPr lang="en-US" sz="1800" dirty="0" smtClean="0">
              <a:latin typeface="Blade Runner Movie Font"/>
            </a:endParaRPr>
          </a:p>
          <a:p>
            <a:pPr>
              <a:lnSpc>
                <a:spcPct val="90000"/>
              </a:lnSpc>
            </a:pPr>
            <a:endParaRPr lang="en-US" sz="1800" dirty="0" smtClean="0">
              <a:latin typeface="Blade Runner Movie Font"/>
            </a:endParaRPr>
          </a:p>
          <a:p>
            <a:pPr>
              <a:lnSpc>
                <a:spcPct val="90000"/>
              </a:lnSpc>
              <a:buFontTx/>
              <a:buNone/>
            </a:pPr>
            <a:endParaRPr lang="en-US" sz="1800" dirty="0" smtClean="0">
              <a:latin typeface="Blade Runner Movie Font"/>
            </a:endParaRPr>
          </a:p>
          <a:p>
            <a:pPr>
              <a:lnSpc>
                <a:spcPct val="90000"/>
              </a:lnSpc>
            </a:pPr>
            <a:endParaRPr lang="en-US" sz="1800" dirty="0" smtClean="0">
              <a:latin typeface="Blade Runner Movie Font"/>
            </a:endParaRPr>
          </a:p>
        </p:txBody>
      </p:sp>
      <p:grpSp>
        <p:nvGrpSpPr>
          <p:cNvPr id="12" name="Group 11" descr="gasoline, oil, waste to landfill" title="environmental offsets"/>
          <p:cNvGrpSpPr/>
          <p:nvPr/>
        </p:nvGrpSpPr>
        <p:grpSpPr>
          <a:xfrm>
            <a:off x="1422790" y="2699305"/>
            <a:ext cx="1689820" cy="3862196"/>
            <a:chOff x="5894473" y="2545685"/>
            <a:chExt cx="1689820" cy="3862196"/>
          </a:xfrm>
        </p:grpSpPr>
        <p:pic>
          <p:nvPicPr>
            <p:cNvPr id="33797" name="Picture 20" descr="120137"/>
            <p:cNvPicPr>
              <a:picLocks noChangeAspect="1" noChangeArrowheads="1"/>
            </p:cNvPicPr>
            <p:nvPr/>
          </p:nvPicPr>
          <p:blipFill>
            <a:blip r:embed="rId3" cstate="email"/>
            <a:srcRect/>
            <a:stretch>
              <a:fillRect/>
            </a:stretch>
          </p:blipFill>
          <p:spPr bwMode="auto">
            <a:xfrm>
              <a:off x="5894473" y="2545685"/>
              <a:ext cx="1676400" cy="12236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799" name="Picture 21" descr="oil%20ri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4473" y="3878875"/>
              <a:ext cx="1689820" cy="11587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10" descr="landfillu10034106.jpg"/>
            <p:cNvPicPr>
              <a:picLocks noChangeAspect="1"/>
            </p:cNvPicPr>
            <p:nvPr/>
          </p:nvPicPr>
          <p:blipFill>
            <a:blip r:embed="rId5" cstate="email"/>
            <a:stretch>
              <a:fillRect/>
            </a:stretch>
          </p:blipFill>
          <p:spPr>
            <a:xfrm>
              <a:off x="5894473" y="5147105"/>
              <a:ext cx="1689820" cy="1260776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3310113" y="3083355"/>
            <a:ext cx="4877617" cy="2899255"/>
            <a:chOff x="544953" y="3044950"/>
            <a:chExt cx="4877617" cy="2899255"/>
          </a:xfrm>
        </p:grpSpPr>
        <p:sp>
          <p:nvSpPr>
            <p:cNvPr id="8" name="TextBox 7"/>
            <p:cNvSpPr txBox="1"/>
            <p:nvPr/>
          </p:nvSpPr>
          <p:spPr>
            <a:xfrm>
              <a:off x="651648" y="3044950"/>
              <a:ext cx="4026103" cy="369332"/>
            </a:xfrm>
            <a:prstGeom prst="rect">
              <a:avLst/>
            </a:prstGeom>
            <a:noFill/>
          </p:spPr>
          <p:txBody>
            <a:bodyPr wrap="none" lIns="0" rIns="91440" rtlCol="0">
              <a:spAutoFit/>
            </a:bodyPr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smtClean="0">
                  <a:solidFill>
                    <a:prstClr val="black"/>
                  </a:solidFill>
                  <a:latin typeface="Blade Runner Movie Font"/>
                </a:rPr>
                <a:t>  Burning 5,231 gallons of gasoline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89836" y="4273910"/>
              <a:ext cx="3497111" cy="400110"/>
            </a:xfrm>
            <a:prstGeom prst="rect">
              <a:avLst/>
            </a:prstGeom>
            <a:noFill/>
          </p:spPr>
          <p:txBody>
            <a:bodyPr wrap="none" lIns="0" rIns="9144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smtClean="0">
                  <a:solidFill>
                    <a:prstClr val="black"/>
                  </a:solidFill>
                  <a:latin typeface="Blade Runner Movie Font"/>
                </a:rPr>
                <a:t>  Consuming 109 barrels of oil</a:t>
              </a:r>
              <a:endParaRPr lang="en-US" sz="2000" dirty="0">
                <a:solidFill>
                  <a:prstClr val="black"/>
                </a:solidFill>
                <a:latin typeface="Blade Runner Movie Font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44953" y="5544095"/>
              <a:ext cx="4877617" cy="400110"/>
            </a:xfrm>
            <a:prstGeom prst="rect">
              <a:avLst/>
            </a:prstGeom>
            <a:noFill/>
          </p:spPr>
          <p:txBody>
            <a:bodyPr wrap="none" lIns="182880" rIns="91440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smtClean="0">
                  <a:solidFill>
                    <a:prstClr val="black"/>
                  </a:solidFill>
                  <a:latin typeface="Blade Runner Movie Font"/>
                </a:rPr>
                <a:t>Sending 16.3 tons of waste to the landfill</a:t>
              </a:r>
              <a:endParaRPr lang="en-US" sz="2000" dirty="0">
                <a:solidFill>
                  <a:prstClr val="black"/>
                </a:solidFill>
                <a:latin typeface="Blade Runner Movie Fon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143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itle 1"/>
          <p:cNvSpPr>
            <a:spLocks noGrp="1"/>
          </p:cNvSpPr>
          <p:nvPr>
            <p:ph type="title"/>
          </p:nvPr>
        </p:nvSpPr>
        <p:spPr>
          <a:xfrm>
            <a:off x="955843" y="164575"/>
            <a:ext cx="7232315" cy="729695"/>
          </a:xfrm>
        </p:spPr>
        <p:txBody>
          <a:bodyPr/>
          <a:lstStyle/>
          <a:p>
            <a:r>
              <a:rPr lang="en-US" dirty="0" smtClean="0"/>
              <a:t>Solar Production Monitoring</a:t>
            </a:r>
          </a:p>
        </p:txBody>
      </p:sp>
      <p:pic>
        <p:nvPicPr>
          <p:cNvPr id="1027" name="Picture 3" descr="show real time monitoring of solar" title="JM Family monitorin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2047240" y="3083355"/>
            <a:ext cx="5049520" cy="297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808311" y="1547155"/>
            <a:ext cx="752737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 smtClean="0">
                <a:solidFill>
                  <a:prstClr val="black"/>
                </a:solidFill>
                <a:latin typeface="Blade Runner Movie Font"/>
              </a:rPr>
              <a:t>Real-time output monitoring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 smtClean="0">
                <a:solidFill>
                  <a:prstClr val="black"/>
                </a:solidFill>
                <a:latin typeface="Blade Runner Movie Font"/>
              </a:rPr>
              <a:t>JMFEsolar.com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 smtClean="0">
              <a:solidFill>
                <a:prstClr val="black"/>
              </a:solidFill>
              <a:latin typeface="Blade Runner Movie Font"/>
            </a:endParaRPr>
          </a:p>
        </p:txBody>
      </p:sp>
    </p:spTree>
    <p:extLst>
      <p:ext uri="{BB962C8B-B14F-4D97-AF65-F5344CB8AC3E}">
        <p14:creationId xmlns:p14="http://schemas.microsoft.com/office/powerpoint/2010/main" val="271501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316162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0070C0"/>
                </a:solidFill>
              </a:rPr>
              <a:t>Welcome to the Greater Fort Lauderdale – Broward County</a:t>
            </a:r>
            <a:br>
              <a:rPr lang="en-US" b="1" dirty="0" smtClean="0">
                <a:solidFill>
                  <a:srgbClr val="0070C0"/>
                </a:solidFill>
              </a:rPr>
            </a:br>
            <a:r>
              <a:rPr lang="en-US" b="1" dirty="0" smtClean="0">
                <a:solidFill>
                  <a:srgbClr val="0070C0"/>
                </a:solidFill>
              </a:rPr>
              <a:t>Convention Center</a:t>
            </a:r>
            <a:br>
              <a:rPr lang="en-US" b="1" dirty="0" smtClean="0">
                <a:solidFill>
                  <a:srgbClr val="0070C0"/>
                </a:solidFill>
              </a:rPr>
            </a:br>
            <a:r>
              <a:rPr lang="en-US" b="1" dirty="0" smtClean="0">
                <a:solidFill>
                  <a:srgbClr val="0070C0"/>
                </a:solidFill>
              </a:rPr>
              <a:t>LEED Gold Facility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819400"/>
            <a:ext cx="8229600" cy="3306763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Julia Johnson</a:t>
            </a:r>
          </a:p>
          <a:p>
            <a:pPr marL="0" indent="0" algn="ctr">
              <a:buNone/>
            </a:pPr>
            <a:r>
              <a:rPr lang="en-US" dirty="0" smtClean="0">
                <a:solidFill>
                  <a:srgbClr val="0070C0"/>
                </a:solidFill>
              </a:rPr>
              <a:t>Sustainability Programs Manager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654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067586"/>
              </p:ext>
            </p:extLst>
          </p:nvPr>
        </p:nvGraphicFramePr>
        <p:xfrm>
          <a:off x="1340530" y="1198486"/>
          <a:ext cx="6462944" cy="34035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71105"/>
                <a:gridCol w="895145"/>
                <a:gridCol w="4296694"/>
              </a:tblGrid>
              <a:tr h="230720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rgbClr val="002060"/>
                        </a:solidFill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rgbClr val="000099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rgbClr val="000099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smtClean="0">
                        <a:solidFill>
                          <a:srgbClr val="000099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smtClean="0">
                          <a:solidFill>
                            <a:srgbClr val="000099"/>
                          </a:solidFill>
                          <a:effectLst/>
                        </a:rPr>
                        <a:t>JULIA </a:t>
                      </a: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>JOHNSON, LEED AP+ O&amp;M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>Sustainable Programs Manager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>Greater Fort Lauderdale </a:t>
                      </a:r>
                      <a:r>
                        <a:rPr lang="en-GB" sz="1400" dirty="0">
                          <a:solidFill>
                            <a:srgbClr val="000099"/>
                          </a:solidFill>
                          <a:effectLst/>
                        </a:rPr>
                        <a:t>t </a:t>
                      </a: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>Broward County Convention Center 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>1950 Eisenhower Blvd, Ft. Lauderdale, FL  33316</a:t>
                      </a:r>
                      <a:b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</a:b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>Phone: (</a:t>
                      </a:r>
                      <a:r>
                        <a:rPr lang="en-US" sz="1400" dirty="0" smtClean="0">
                          <a:solidFill>
                            <a:srgbClr val="000099"/>
                          </a:solidFill>
                          <a:effectLst/>
                        </a:rPr>
                        <a:t>954)765-5906 Fax</a:t>
                      </a: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>: (</a:t>
                      </a:r>
                      <a:r>
                        <a:rPr lang="en-US" sz="1400" dirty="0" smtClean="0">
                          <a:solidFill>
                            <a:srgbClr val="000099"/>
                          </a:solidFill>
                          <a:effectLst/>
                        </a:rPr>
                        <a:t>954)763-9551</a:t>
                      </a: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/>
                      </a:r>
                      <a:b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</a:b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>E-mail:  </a:t>
                      </a: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  <a:hlinkClick r:id="rId2"/>
                        </a:rPr>
                        <a:t>jjohnson@ftlauderdalecc.com</a:t>
                      </a:r>
                      <a:endParaRPr lang="en-US" sz="1400" dirty="0">
                        <a:solidFill>
                          <a:srgbClr val="000099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</a:rPr>
                        <a:t>Website:  </a:t>
                      </a:r>
                      <a:r>
                        <a:rPr lang="en-US" sz="1400" dirty="0">
                          <a:solidFill>
                            <a:srgbClr val="000099"/>
                          </a:solidFill>
                          <a:effectLst/>
                          <a:hlinkClick r:id="rId3"/>
                        </a:rPr>
                        <a:t>www.ftlauderdalecc.com</a:t>
                      </a:r>
                      <a:endParaRPr lang="en-US" sz="1400" dirty="0">
                        <a:solidFill>
                          <a:srgbClr val="000099"/>
                        </a:solidFill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8222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800" dirty="0">
                        <a:solidFill>
                          <a:srgbClr val="1F497D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6039" y="1677878"/>
            <a:ext cx="1230355" cy="2086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899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903123"/>
            <a:ext cx="9144000" cy="305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198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Box 6"/>
          <p:cNvSpPr txBox="1">
            <a:spLocks noChangeArrowheads="1"/>
          </p:cNvSpPr>
          <p:nvPr/>
        </p:nvSpPr>
        <p:spPr bwMode="auto">
          <a:xfrm>
            <a:off x="2362200" y="685800"/>
            <a:ext cx="57150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000" b="1" smtClean="0">
                <a:solidFill>
                  <a:srgbClr val="000000"/>
                </a:solidFill>
                <a:latin typeface="Arial" charset="0"/>
              </a:rPr>
              <a:t>…A Vibrant, Growing and Green Community</a:t>
            </a:r>
          </a:p>
        </p:txBody>
      </p:sp>
      <p:sp>
        <p:nvSpPr>
          <p:cNvPr id="8195" name="Text Box 6"/>
          <p:cNvSpPr txBox="1">
            <a:spLocks noChangeArrowheads="1"/>
          </p:cNvSpPr>
          <p:nvPr/>
        </p:nvSpPr>
        <p:spPr bwMode="auto">
          <a:xfrm>
            <a:off x="2514600" y="2533650"/>
            <a:ext cx="5715000" cy="280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it’s dynamic and moving rapidly with vigor and energy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it’s thriving and developing  to reach maturity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it’s sustaining itself 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3252554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ld outdated photo" title="Broward County convention center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330" y="408370"/>
            <a:ext cx="8001740" cy="600130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204319" y="940903"/>
            <a:ext cx="939681" cy="4616648"/>
          </a:xfrm>
          <a:prstGeom prst="rect">
            <a:avLst/>
          </a:prstGeom>
          <a:noFill/>
        </p:spPr>
        <p:txBody>
          <a:bodyPr vert="wordArtVert" wrap="none" rtlCol="0">
            <a:spAutoFit/>
          </a:bodyPr>
          <a:lstStyle/>
          <a:p>
            <a:pPr defTabSz="457200"/>
            <a:r>
              <a:rPr lang="en-US" sz="4400" dirty="0" smtClean="0">
                <a:solidFill>
                  <a:prstClr val="black"/>
                </a:solidFill>
                <a:latin typeface="Cooper Black" pitchFamily="18" charset="0"/>
              </a:rPr>
              <a:t>BEFORE</a:t>
            </a:r>
            <a:endParaRPr lang="en-US" sz="4400" dirty="0">
              <a:solidFill>
                <a:prstClr val="black"/>
              </a:solidFill>
              <a:latin typeface="Cooper Black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426781" y="4367814"/>
            <a:ext cx="4541628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US" sz="2400" dirty="0" smtClean="0">
                <a:solidFill>
                  <a:srgbClr val="002060"/>
                </a:solidFill>
                <a:latin typeface="Britannic Bold" pitchFamily="34" charset="0"/>
              </a:rPr>
              <a:t>After 20 years it was</a:t>
            </a:r>
          </a:p>
          <a:p>
            <a:pPr defTabSz="457200"/>
            <a:r>
              <a:rPr lang="en-US" sz="2400" dirty="0">
                <a:solidFill>
                  <a:srgbClr val="002060"/>
                </a:solidFill>
                <a:latin typeface="Britannic Bold" pitchFamily="34" charset="0"/>
              </a:rPr>
              <a:t>t</a:t>
            </a:r>
            <a:r>
              <a:rPr lang="en-US" sz="2400" dirty="0" smtClean="0">
                <a:solidFill>
                  <a:srgbClr val="002060"/>
                </a:solidFill>
                <a:latin typeface="Britannic Bold" pitchFamily="34" charset="0"/>
              </a:rPr>
              <a:t>ime for some upgrades…not</a:t>
            </a:r>
            <a:endParaRPr lang="en-US" sz="2400" dirty="0">
              <a:solidFill>
                <a:srgbClr val="002060"/>
              </a:solidFill>
              <a:latin typeface="Britannic Bold" pitchFamily="34" charset="0"/>
            </a:endParaRPr>
          </a:p>
          <a:p>
            <a:pPr defTabSz="457200"/>
            <a:r>
              <a:rPr lang="en-US" sz="2400" dirty="0" smtClean="0">
                <a:solidFill>
                  <a:srgbClr val="002060"/>
                </a:solidFill>
                <a:latin typeface="Britannic Bold" pitchFamily="34" charset="0"/>
              </a:rPr>
              <a:t>only for water efficiency but </a:t>
            </a:r>
          </a:p>
          <a:p>
            <a:pPr defTabSz="457200"/>
            <a:r>
              <a:rPr lang="en-US" sz="2400" dirty="0">
                <a:solidFill>
                  <a:srgbClr val="002060"/>
                </a:solidFill>
                <a:latin typeface="Britannic Bold" pitchFamily="34" charset="0"/>
              </a:rPr>
              <a:t>t</a:t>
            </a:r>
            <a:r>
              <a:rPr lang="en-US" sz="2400" dirty="0" smtClean="0">
                <a:solidFill>
                  <a:srgbClr val="002060"/>
                </a:solidFill>
                <a:latin typeface="Britannic Bold" pitchFamily="34" charset="0"/>
              </a:rPr>
              <a:t>o make arrival more appealing</a:t>
            </a:r>
          </a:p>
        </p:txBody>
      </p:sp>
    </p:spTree>
    <p:extLst>
      <p:ext uri="{BB962C8B-B14F-4D97-AF65-F5344CB8AC3E}">
        <p14:creationId xmlns:p14="http://schemas.microsoft.com/office/powerpoint/2010/main" val="185227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with plants" title="New entranc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625" y="233112"/>
            <a:ext cx="8350001" cy="6262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66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was unattractive" title="terminal 4 buildi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818" y="399496"/>
            <a:ext cx="7997952" cy="599846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451542" y="1066801"/>
            <a:ext cx="69245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4400" dirty="0" smtClean="0">
                <a:solidFill>
                  <a:prstClr val="black"/>
                </a:solidFill>
                <a:latin typeface="Cooper Black" pitchFamily="18" charset="0"/>
              </a:rPr>
              <a:t>BEFORE</a:t>
            </a:r>
            <a:endParaRPr lang="en-US" sz="4400" dirty="0">
              <a:solidFill>
                <a:prstClr val="black"/>
              </a:solidFill>
              <a:latin typeface="Cooper Black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95962" y="1926454"/>
            <a:ext cx="393569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US" sz="2400" dirty="0" smtClean="0">
                <a:solidFill>
                  <a:srgbClr val="002060"/>
                </a:solidFill>
                <a:latin typeface="Britannic Bold" pitchFamily="34" charset="0"/>
              </a:rPr>
              <a:t>Terminal 4 Building was an</a:t>
            </a:r>
          </a:p>
          <a:p>
            <a:pPr defTabSz="457200"/>
            <a:r>
              <a:rPr lang="en-US" sz="2400" dirty="0">
                <a:solidFill>
                  <a:srgbClr val="002060"/>
                </a:solidFill>
                <a:latin typeface="Britannic Bold" pitchFamily="34" charset="0"/>
              </a:rPr>
              <a:t>u</a:t>
            </a:r>
            <a:r>
              <a:rPr lang="en-US" sz="2400" dirty="0" smtClean="0">
                <a:solidFill>
                  <a:srgbClr val="002060"/>
                </a:solidFill>
                <a:latin typeface="Britannic Bold" pitchFamily="34" charset="0"/>
              </a:rPr>
              <a:t>nattractive distraction</a:t>
            </a:r>
            <a:endParaRPr lang="en-US" sz="2400" dirty="0">
              <a:solidFill>
                <a:srgbClr val="002060"/>
              </a:solidFill>
              <a:latin typeface="Britannic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362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uses 65% less water" title="New landscapi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328473"/>
            <a:ext cx="7997952" cy="59984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-167325" y="328473"/>
            <a:ext cx="1322157" cy="5779787"/>
          </a:xfrm>
          <a:prstGeom prst="rect">
            <a:avLst/>
          </a:prstGeom>
          <a:noFill/>
        </p:spPr>
        <p:txBody>
          <a:bodyPr vert="wordArtVert" wrap="none" rtlCol="0">
            <a:spAutoFit/>
          </a:bodyPr>
          <a:lstStyle/>
          <a:p>
            <a:pPr defTabSz="457200"/>
            <a:r>
              <a:rPr lang="en-US" sz="4800" dirty="0" smtClean="0">
                <a:solidFill>
                  <a:srgbClr val="002060"/>
                </a:solidFill>
                <a:latin typeface="Segoe Script" pitchFamily="34" charset="0"/>
              </a:rPr>
              <a:t>AFTER</a:t>
            </a:r>
            <a:endParaRPr lang="en-US" sz="4800" dirty="0">
              <a:solidFill>
                <a:srgbClr val="002060"/>
              </a:solidFill>
              <a:latin typeface="Segoe Script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14399" y="4880387"/>
            <a:ext cx="480281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2000" b="1" dirty="0" smtClean="0">
                <a:solidFill>
                  <a:srgbClr val="000099"/>
                </a:solidFill>
                <a:latin typeface="Franklin Gothic Medium" pitchFamily="34" charset="0"/>
              </a:rPr>
              <a:t>New landscape material and micro-drip irrigation uses 65% less water than before.  A savings of more than </a:t>
            </a:r>
            <a:r>
              <a:rPr lang="en-US" sz="2400" b="1" i="1" u="sng" dirty="0" smtClean="0">
                <a:solidFill>
                  <a:srgbClr val="000099"/>
                </a:solidFill>
                <a:latin typeface="Franklin Gothic Medium" pitchFamily="34" charset="0"/>
              </a:rPr>
              <a:t>6 million gallons</a:t>
            </a:r>
            <a:r>
              <a:rPr lang="en-US" sz="2000" b="1" dirty="0" smtClean="0">
                <a:solidFill>
                  <a:srgbClr val="000099"/>
                </a:solidFill>
                <a:latin typeface="Franklin Gothic Medium" pitchFamily="34" charset="0"/>
              </a:rPr>
              <a:t> of water per year.</a:t>
            </a:r>
            <a:endParaRPr lang="en-US" sz="2000" b="1" dirty="0">
              <a:solidFill>
                <a:srgbClr val="000099"/>
              </a:solidFill>
              <a:latin typeface="Franklin Gothic Medium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68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old outdated" title="before pictur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941" y="435006"/>
            <a:ext cx="7997952" cy="59984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219893" y="843378"/>
            <a:ext cx="939681" cy="5433134"/>
          </a:xfrm>
          <a:prstGeom prst="rect">
            <a:avLst/>
          </a:prstGeom>
          <a:noFill/>
        </p:spPr>
        <p:txBody>
          <a:bodyPr vert="wordArtVert" wrap="square" rtlCol="0">
            <a:spAutoFit/>
          </a:bodyPr>
          <a:lstStyle/>
          <a:p>
            <a:pPr defTabSz="457200"/>
            <a:r>
              <a:rPr lang="en-US" sz="4400" dirty="0" smtClean="0">
                <a:solidFill>
                  <a:prstClr val="black"/>
                </a:solidFill>
                <a:latin typeface="Cooper Black" pitchFamily="18" charset="0"/>
              </a:rPr>
              <a:t>BEFORE</a:t>
            </a:r>
            <a:endParaRPr lang="en-US" sz="4400" dirty="0">
              <a:solidFill>
                <a:prstClr val="black"/>
              </a:solidFill>
              <a:latin typeface="Cooper Blac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150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water saving plants" title="after pictur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767" y="435006"/>
            <a:ext cx="7997952" cy="59984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-248574" y="488272"/>
            <a:ext cx="1322157" cy="5956917"/>
          </a:xfrm>
          <a:prstGeom prst="rect">
            <a:avLst/>
          </a:prstGeom>
          <a:noFill/>
        </p:spPr>
        <p:txBody>
          <a:bodyPr vert="wordArtVert" wrap="square" rtlCol="0">
            <a:spAutoFit/>
          </a:bodyPr>
          <a:lstStyle/>
          <a:p>
            <a:pPr defTabSz="457200"/>
            <a:r>
              <a:rPr lang="en-US" sz="4800" dirty="0">
                <a:solidFill>
                  <a:srgbClr val="002060"/>
                </a:solidFill>
                <a:latin typeface="Segoe Script" pitchFamily="34" charset="0"/>
              </a:rPr>
              <a:t>A</a:t>
            </a:r>
            <a:r>
              <a:rPr lang="en-US" sz="4800" dirty="0" smtClean="0">
                <a:solidFill>
                  <a:srgbClr val="002060"/>
                </a:solidFill>
                <a:latin typeface="Segoe Script" pitchFamily="34" charset="0"/>
              </a:rPr>
              <a:t>FTER</a:t>
            </a:r>
            <a:endParaRPr lang="en-US" sz="4800" dirty="0">
              <a:solidFill>
                <a:srgbClr val="002060"/>
              </a:solidFill>
              <a:latin typeface="Segoe Script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73583" y="4938152"/>
            <a:ext cx="4572000" cy="923330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defTabSz="457200"/>
            <a:r>
              <a:rPr lang="en-US" b="1" dirty="0">
                <a:solidFill>
                  <a:srgbClr val="000099"/>
                </a:solidFill>
                <a:latin typeface="Franklin Gothic Medium" pitchFamily="34" charset="0"/>
              </a:rPr>
              <a:t>Use of native and adaptive plants and trees indigenous to South Florida reduces the need for watering.</a:t>
            </a:r>
          </a:p>
        </p:txBody>
      </p:sp>
    </p:spTree>
    <p:extLst>
      <p:ext uri="{BB962C8B-B14F-4D97-AF65-F5344CB8AC3E}">
        <p14:creationId xmlns:p14="http://schemas.microsoft.com/office/powerpoint/2010/main" val="124774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ew plants" title="before pictur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187" y="381740"/>
            <a:ext cx="7997952" cy="59984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202139" y="884926"/>
            <a:ext cx="939681" cy="5495278"/>
          </a:xfrm>
          <a:prstGeom prst="rect">
            <a:avLst/>
          </a:prstGeom>
          <a:noFill/>
        </p:spPr>
        <p:txBody>
          <a:bodyPr vert="wordArtVert" wrap="square" rtlCol="0">
            <a:spAutoFit/>
          </a:bodyPr>
          <a:lstStyle/>
          <a:p>
            <a:pPr defTabSz="457200"/>
            <a:r>
              <a:rPr lang="en-US" sz="4400" dirty="0" smtClean="0">
                <a:solidFill>
                  <a:prstClr val="black"/>
                </a:solidFill>
                <a:latin typeface="Cooper Black" pitchFamily="18" charset="0"/>
              </a:rPr>
              <a:t>BEFORE</a:t>
            </a:r>
            <a:endParaRPr lang="en-US" sz="4400" dirty="0">
              <a:solidFill>
                <a:prstClr val="black"/>
              </a:solidFill>
              <a:latin typeface="Cooper Blac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52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ore plants" title="after pictur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9985" y="0"/>
            <a:ext cx="4804029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26127" y="508246"/>
            <a:ext cx="1322157" cy="5841507"/>
          </a:xfrm>
          <a:prstGeom prst="rect">
            <a:avLst/>
          </a:prstGeom>
          <a:noFill/>
        </p:spPr>
        <p:txBody>
          <a:bodyPr vert="wordArtVert" wrap="square" rtlCol="0">
            <a:spAutoFit/>
          </a:bodyPr>
          <a:lstStyle/>
          <a:p>
            <a:pPr defTabSz="457200"/>
            <a:r>
              <a:rPr lang="en-US" sz="4800" dirty="0" smtClean="0">
                <a:solidFill>
                  <a:srgbClr val="002060"/>
                </a:solidFill>
                <a:latin typeface="Segoe Script" pitchFamily="34" charset="0"/>
              </a:rPr>
              <a:t>AFTER</a:t>
            </a:r>
            <a:endParaRPr lang="en-US" sz="4800" dirty="0">
              <a:solidFill>
                <a:srgbClr val="002060"/>
              </a:solidFill>
              <a:latin typeface="Segoe Scrip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274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ugly" title="before pictur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676" y="363984"/>
            <a:ext cx="7997952" cy="599846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204319" y="735425"/>
            <a:ext cx="939681" cy="5255581"/>
          </a:xfrm>
          <a:prstGeom prst="rect">
            <a:avLst/>
          </a:prstGeom>
          <a:noFill/>
        </p:spPr>
        <p:txBody>
          <a:bodyPr vert="wordArtVert" wrap="square" rtlCol="0">
            <a:spAutoFit/>
          </a:bodyPr>
          <a:lstStyle/>
          <a:p>
            <a:pPr defTabSz="457200"/>
            <a:r>
              <a:rPr lang="en-US" sz="4400" dirty="0" smtClean="0">
                <a:solidFill>
                  <a:prstClr val="black"/>
                </a:solidFill>
                <a:latin typeface="Cooper Black" pitchFamily="18" charset="0"/>
              </a:rPr>
              <a:t>BEFORE</a:t>
            </a:r>
            <a:endParaRPr lang="en-US" sz="4400" dirty="0">
              <a:solidFill>
                <a:prstClr val="black"/>
              </a:solidFill>
              <a:latin typeface="Cooper Blac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09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lots of new landscaping" title="after pictur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421" y="435006"/>
            <a:ext cx="7997952" cy="59984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-133164" y="504606"/>
            <a:ext cx="1322157" cy="5859263"/>
          </a:xfrm>
          <a:prstGeom prst="rect">
            <a:avLst/>
          </a:prstGeom>
          <a:noFill/>
        </p:spPr>
        <p:txBody>
          <a:bodyPr vert="wordArtVert" wrap="square" rtlCol="0">
            <a:spAutoFit/>
          </a:bodyPr>
          <a:lstStyle/>
          <a:p>
            <a:pPr defTabSz="457200"/>
            <a:r>
              <a:rPr lang="en-US" sz="4800" dirty="0" smtClean="0">
                <a:solidFill>
                  <a:srgbClr val="002060"/>
                </a:solidFill>
                <a:latin typeface="Segoe Script" pitchFamily="34" charset="0"/>
              </a:rPr>
              <a:t>AFTER</a:t>
            </a:r>
            <a:endParaRPr lang="en-US" sz="4800" dirty="0">
              <a:solidFill>
                <a:srgbClr val="002060"/>
              </a:solidFill>
              <a:latin typeface="Segoe Scrip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892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:randomBar dir="vert"/>
      </p:transition>
    </mc:Choice>
    <mc:Fallback xmlns="">
      <p:transition spd="slow">
        <p:randomBar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Box 7"/>
          <p:cNvSpPr txBox="1">
            <a:spLocks noChangeArrowheads="1"/>
          </p:cNvSpPr>
          <p:nvPr/>
        </p:nvSpPr>
        <p:spPr bwMode="auto">
          <a:xfrm>
            <a:off x="2133600" y="990600"/>
            <a:ext cx="523716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600" b="1" smtClean="0">
                <a:solidFill>
                  <a:srgbClr val="000000"/>
                </a:solidFill>
                <a:latin typeface="Arial" charset="0"/>
              </a:rPr>
              <a:t>What is Sustainability?</a:t>
            </a:r>
          </a:p>
        </p:txBody>
      </p:sp>
      <p:sp>
        <p:nvSpPr>
          <p:cNvPr id="9219" name="Text Box 8"/>
          <p:cNvSpPr txBox="1">
            <a:spLocks noChangeArrowheads="1"/>
          </p:cNvSpPr>
          <p:nvPr/>
        </p:nvSpPr>
        <p:spPr bwMode="auto">
          <a:xfrm>
            <a:off x="2138363" y="1905000"/>
            <a:ext cx="6319837" cy="335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the capacity to endure (longevity)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the capacity to support (maintain)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the stewardship of environment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the management of resources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sz="1800" b="1" i="1" smtClean="0">
              <a:solidFill>
                <a:srgbClr val="00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800" b="1" i="1" smtClean="0">
                <a:solidFill>
                  <a:srgbClr val="000000"/>
                </a:solidFill>
                <a:latin typeface="Arial" charset="0"/>
              </a:rPr>
              <a:t>… it is resourcefu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5175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CH</a:t>
            </a:r>
          </a:p>
        </p:txBody>
      </p:sp>
    </p:spTree>
    <p:extLst>
      <p:ext uri="{BB962C8B-B14F-4D97-AF65-F5344CB8AC3E}">
        <p14:creationId xmlns:p14="http://schemas.microsoft.com/office/powerpoint/2010/main" val="324733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nside" title="old lighti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2687"/>
            <a:ext cx="4793942" cy="3693111"/>
          </a:xfrm>
          <a:prstGeom prst="rect">
            <a:avLst/>
          </a:prstGeom>
        </p:spPr>
      </p:pic>
      <p:pic>
        <p:nvPicPr>
          <p:cNvPr id="1026" name="Picture 2" descr="inside more energy efficient" title="New lighti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26276" y="2681056"/>
            <a:ext cx="5317724" cy="41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5153487" y="345114"/>
            <a:ext cx="334244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2800" dirty="0" smtClean="0">
                <a:solidFill>
                  <a:srgbClr val="002060"/>
                </a:solidFill>
                <a:latin typeface="Cooper Black" pitchFamily="18" charset="0"/>
              </a:rPr>
              <a:t>Replacement of older</a:t>
            </a:r>
            <a:r>
              <a:rPr lang="en-US" sz="2800" dirty="0">
                <a:solidFill>
                  <a:srgbClr val="002060"/>
                </a:solidFill>
                <a:latin typeface="Cooper Black" pitchFamily="18" charset="0"/>
              </a:rPr>
              <a:t>, less energy-efficient </a:t>
            </a:r>
            <a:r>
              <a:rPr lang="en-US" sz="2800" dirty="0" smtClean="0">
                <a:solidFill>
                  <a:srgbClr val="002060"/>
                </a:solidFill>
                <a:latin typeface="Cooper Black" pitchFamily="18" charset="0"/>
              </a:rPr>
              <a:t>lighting…</a:t>
            </a:r>
            <a:endParaRPr lang="en-US" sz="2800" dirty="0">
              <a:solidFill>
                <a:srgbClr val="002060"/>
              </a:solidFill>
              <a:latin typeface="Cooper Black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86431" y="3674370"/>
            <a:ext cx="347036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2200" b="1" dirty="0">
                <a:solidFill>
                  <a:srgbClr val="002060"/>
                </a:solidFill>
                <a:latin typeface="Franklin Gothic Medium" pitchFamily="34" charset="0"/>
              </a:rPr>
              <a:t>with a combination of new more energy-efficient fluorescents, LEDs, CFLs and induction lighting to reduce both heat and energy, resulting in a savings of </a:t>
            </a:r>
            <a:r>
              <a:rPr lang="en-US" sz="2200" b="1" i="1" u="sng" dirty="0">
                <a:solidFill>
                  <a:srgbClr val="C00000"/>
                </a:solidFill>
                <a:latin typeface="Franklin Gothic Medium" pitchFamily="34" charset="0"/>
              </a:rPr>
              <a:t>18 percent off the electric bill.</a:t>
            </a:r>
          </a:p>
        </p:txBody>
      </p:sp>
    </p:spTree>
    <p:extLst>
      <p:ext uri="{BB962C8B-B14F-4D97-AF65-F5344CB8AC3E}">
        <p14:creationId xmlns:p14="http://schemas.microsoft.com/office/powerpoint/2010/main" val="425829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ore energy efficient" title="new water cooled chiller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3633" y="-24479"/>
            <a:ext cx="5230367" cy="3922776"/>
          </a:xfrm>
          <a:prstGeom prst="rect">
            <a:avLst/>
          </a:prstGeom>
        </p:spPr>
      </p:pic>
      <p:pic>
        <p:nvPicPr>
          <p:cNvPr id="2050" name="Picture 2" descr="more energy efficient" title="new water cooled chiller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934070"/>
            <a:ext cx="5229569" cy="3923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106532" y="410528"/>
            <a:ext cx="36576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US" sz="2000" dirty="0">
                <a:solidFill>
                  <a:srgbClr val="000099"/>
                </a:solidFill>
                <a:latin typeface="Arial Black" pitchFamily="34" charset="0"/>
              </a:rPr>
              <a:t>The replacement of two 19-year-old water-cooled chillers with new, more energy-efficient Trane </a:t>
            </a:r>
            <a:r>
              <a:rPr lang="en-US" sz="2000" dirty="0" err="1">
                <a:solidFill>
                  <a:srgbClr val="000099"/>
                </a:solidFill>
                <a:latin typeface="Arial Black" pitchFamily="34" charset="0"/>
              </a:rPr>
              <a:t>Earthwise</a:t>
            </a:r>
            <a:r>
              <a:rPr lang="en-US" sz="2000" dirty="0">
                <a:solidFill>
                  <a:srgbClr val="000099"/>
                </a:solidFill>
                <a:latin typeface="Arial Black" pitchFamily="34" charset="0"/>
              </a:rPr>
              <a:t>® water-cooled </a:t>
            </a:r>
            <a:r>
              <a:rPr lang="en-US" sz="2000" dirty="0" smtClean="0">
                <a:solidFill>
                  <a:srgbClr val="000099"/>
                </a:solidFill>
                <a:latin typeface="Arial Black" pitchFamily="34" charset="0"/>
              </a:rPr>
              <a:t>chillers</a:t>
            </a:r>
            <a:endParaRPr lang="en-US" sz="2000" dirty="0">
              <a:solidFill>
                <a:srgbClr val="000099"/>
              </a:solidFill>
              <a:latin typeface="Arial Black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29569" y="4284773"/>
            <a:ext cx="391443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US" sz="2000" dirty="0">
                <a:solidFill>
                  <a:srgbClr val="000099"/>
                </a:solidFill>
                <a:latin typeface="Arial Black" pitchFamily="34" charset="0"/>
              </a:rPr>
              <a:t>along with upgrades to the air-handling and ventilation system, including CO2 sensors for enhanced indoor air </a:t>
            </a:r>
            <a:r>
              <a:rPr lang="en-US" sz="2000" dirty="0" smtClean="0">
                <a:solidFill>
                  <a:srgbClr val="000099"/>
                </a:solidFill>
                <a:latin typeface="Arial Black" pitchFamily="34" charset="0"/>
              </a:rPr>
              <a:t>quality</a:t>
            </a:r>
            <a:endParaRPr lang="en-US" sz="2000" dirty="0">
              <a:solidFill>
                <a:srgbClr val="000099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076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Now recycling 63%" title="Recycli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2700" y="88777"/>
            <a:ext cx="4943778" cy="676922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15410" y="701335"/>
            <a:ext cx="252152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US" sz="2000" dirty="0" smtClean="0">
                <a:solidFill>
                  <a:prstClr val="white"/>
                </a:solidFill>
              </a:rPr>
              <a:t>October 2010</a:t>
            </a:r>
          </a:p>
          <a:p>
            <a:pPr defTabSz="457200"/>
            <a:r>
              <a:rPr lang="en-US" sz="2000" dirty="0" smtClean="0">
                <a:solidFill>
                  <a:prstClr val="white"/>
                </a:solidFill>
              </a:rPr>
              <a:t>We were recycling</a:t>
            </a:r>
          </a:p>
          <a:p>
            <a:pPr defTabSz="457200"/>
            <a:r>
              <a:rPr lang="en-US" sz="2000" u="sng" dirty="0" smtClean="0">
                <a:solidFill>
                  <a:srgbClr val="C00000"/>
                </a:solidFill>
              </a:rPr>
              <a:t>8%</a:t>
            </a:r>
            <a:r>
              <a:rPr lang="en-US" sz="2000" dirty="0" smtClean="0">
                <a:solidFill>
                  <a:prstClr val="white"/>
                </a:solidFill>
              </a:rPr>
              <a:t> of total waste</a:t>
            </a:r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847652" y="4370357"/>
            <a:ext cx="368722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US" sz="3600" dirty="0" smtClean="0">
                <a:solidFill>
                  <a:prstClr val="white"/>
                </a:solidFill>
                <a:latin typeface="Papyrus" pitchFamily="66" charset="0"/>
              </a:rPr>
              <a:t>December 2012 -</a:t>
            </a:r>
          </a:p>
          <a:p>
            <a:pPr defTabSz="457200"/>
            <a:r>
              <a:rPr lang="en-US" sz="3600" dirty="0" smtClean="0">
                <a:solidFill>
                  <a:prstClr val="white"/>
                </a:solidFill>
                <a:latin typeface="Papyrus" pitchFamily="66" charset="0"/>
              </a:rPr>
              <a:t>We are recycling</a:t>
            </a:r>
          </a:p>
        </p:txBody>
      </p:sp>
      <p:sp>
        <p:nvSpPr>
          <p:cNvPr id="6" name="Bent-Up Arrow 5"/>
          <p:cNvSpPr/>
          <p:nvPr/>
        </p:nvSpPr>
        <p:spPr>
          <a:xfrm rot="6524061">
            <a:off x="1052549" y="1651448"/>
            <a:ext cx="2778095" cy="4139140"/>
          </a:xfrm>
          <a:custGeom>
            <a:avLst/>
            <a:gdLst>
              <a:gd name="connsiteX0" fmla="*/ 0 w 2622757"/>
              <a:gd name="connsiteY0" fmla="*/ 2823221 h 3383573"/>
              <a:gd name="connsiteX1" fmla="*/ 1681410 w 2622757"/>
              <a:gd name="connsiteY1" fmla="*/ 2823221 h 3383573"/>
              <a:gd name="connsiteX2" fmla="*/ 1681410 w 2622757"/>
              <a:gd name="connsiteY2" fmla="*/ 967063 h 3383573"/>
              <a:gd name="connsiteX3" fmla="*/ 1300415 w 2622757"/>
              <a:gd name="connsiteY3" fmla="*/ 967063 h 3383573"/>
              <a:gd name="connsiteX4" fmla="*/ 1961586 w 2622757"/>
              <a:gd name="connsiteY4" fmla="*/ 0 h 3383573"/>
              <a:gd name="connsiteX5" fmla="*/ 2622757 w 2622757"/>
              <a:gd name="connsiteY5" fmla="*/ 967063 h 3383573"/>
              <a:gd name="connsiteX6" fmla="*/ 2241762 w 2622757"/>
              <a:gd name="connsiteY6" fmla="*/ 967063 h 3383573"/>
              <a:gd name="connsiteX7" fmla="*/ 2241762 w 2622757"/>
              <a:gd name="connsiteY7" fmla="*/ 3383573 h 3383573"/>
              <a:gd name="connsiteX8" fmla="*/ 0 w 2622757"/>
              <a:gd name="connsiteY8" fmla="*/ 3383573 h 3383573"/>
              <a:gd name="connsiteX9" fmla="*/ 0 w 2622757"/>
              <a:gd name="connsiteY9" fmla="*/ 2823221 h 3383573"/>
              <a:gd name="connsiteX0" fmla="*/ 71852 w 2694609"/>
              <a:gd name="connsiteY0" fmla="*/ 2823221 h 4139140"/>
              <a:gd name="connsiteX1" fmla="*/ 1753262 w 2694609"/>
              <a:gd name="connsiteY1" fmla="*/ 2823221 h 4139140"/>
              <a:gd name="connsiteX2" fmla="*/ 1753262 w 2694609"/>
              <a:gd name="connsiteY2" fmla="*/ 967063 h 4139140"/>
              <a:gd name="connsiteX3" fmla="*/ 1372267 w 2694609"/>
              <a:gd name="connsiteY3" fmla="*/ 967063 h 4139140"/>
              <a:gd name="connsiteX4" fmla="*/ 2033438 w 2694609"/>
              <a:gd name="connsiteY4" fmla="*/ 0 h 4139140"/>
              <a:gd name="connsiteX5" fmla="*/ 2694609 w 2694609"/>
              <a:gd name="connsiteY5" fmla="*/ 967063 h 4139140"/>
              <a:gd name="connsiteX6" fmla="*/ 2313614 w 2694609"/>
              <a:gd name="connsiteY6" fmla="*/ 967063 h 4139140"/>
              <a:gd name="connsiteX7" fmla="*/ 2313614 w 2694609"/>
              <a:gd name="connsiteY7" fmla="*/ 3383573 h 4139140"/>
              <a:gd name="connsiteX8" fmla="*/ 0 w 2694609"/>
              <a:gd name="connsiteY8" fmla="*/ 4139140 h 4139140"/>
              <a:gd name="connsiteX9" fmla="*/ 71852 w 2694609"/>
              <a:gd name="connsiteY9" fmla="*/ 2823221 h 4139140"/>
              <a:gd name="connsiteX0" fmla="*/ 0 w 2891415"/>
              <a:gd name="connsiteY0" fmla="*/ 3523668 h 4139140"/>
              <a:gd name="connsiteX1" fmla="*/ 1950068 w 2891415"/>
              <a:gd name="connsiteY1" fmla="*/ 2823221 h 4139140"/>
              <a:gd name="connsiteX2" fmla="*/ 1950068 w 2891415"/>
              <a:gd name="connsiteY2" fmla="*/ 967063 h 4139140"/>
              <a:gd name="connsiteX3" fmla="*/ 1569073 w 2891415"/>
              <a:gd name="connsiteY3" fmla="*/ 967063 h 4139140"/>
              <a:gd name="connsiteX4" fmla="*/ 2230244 w 2891415"/>
              <a:gd name="connsiteY4" fmla="*/ 0 h 4139140"/>
              <a:gd name="connsiteX5" fmla="*/ 2891415 w 2891415"/>
              <a:gd name="connsiteY5" fmla="*/ 967063 h 4139140"/>
              <a:gd name="connsiteX6" fmla="*/ 2510420 w 2891415"/>
              <a:gd name="connsiteY6" fmla="*/ 967063 h 4139140"/>
              <a:gd name="connsiteX7" fmla="*/ 2510420 w 2891415"/>
              <a:gd name="connsiteY7" fmla="*/ 3383573 h 4139140"/>
              <a:gd name="connsiteX8" fmla="*/ 196806 w 2891415"/>
              <a:gd name="connsiteY8" fmla="*/ 4139140 h 4139140"/>
              <a:gd name="connsiteX9" fmla="*/ 0 w 2891415"/>
              <a:gd name="connsiteY9" fmla="*/ 3523668 h 4139140"/>
              <a:gd name="connsiteX0" fmla="*/ 0 w 2891415"/>
              <a:gd name="connsiteY0" fmla="*/ 3523668 h 4139140"/>
              <a:gd name="connsiteX1" fmla="*/ 2221742 w 2891415"/>
              <a:gd name="connsiteY1" fmla="*/ 3237298 h 4139140"/>
              <a:gd name="connsiteX2" fmla="*/ 1950068 w 2891415"/>
              <a:gd name="connsiteY2" fmla="*/ 967063 h 4139140"/>
              <a:gd name="connsiteX3" fmla="*/ 1569073 w 2891415"/>
              <a:gd name="connsiteY3" fmla="*/ 967063 h 4139140"/>
              <a:gd name="connsiteX4" fmla="*/ 2230244 w 2891415"/>
              <a:gd name="connsiteY4" fmla="*/ 0 h 4139140"/>
              <a:gd name="connsiteX5" fmla="*/ 2891415 w 2891415"/>
              <a:gd name="connsiteY5" fmla="*/ 967063 h 4139140"/>
              <a:gd name="connsiteX6" fmla="*/ 2510420 w 2891415"/>
              <a:gd name="connsiteY6" fmla="*/ 967063 h 4139140"/>
              <a:gd name="connsiteX7" fmla="*/ 2510420 w 2891415"/>
              <a:gd name="connsiteY7" fmla="*/ 3383573 h 4139140"/>
              <a:gd name="connsiteX8" fmla="*/ 196806 w 2891415"/>
              <a:gd name="connsiteY8" fmla="*/ 4139140 h 4139140"/>
              <a:gd name="connsiteX9" fmla="*/ 0 w 2891415"/>
              <a:gd name="connsiteY9" fmla="*/ 3523668 h 4139140"/>
              <a:gd name="connsiteX0" fmla="*/ 0 w 2778095"/>
              <a:gd name="connsiteY0" fmla="*/ 3719594 h 4139140"/>
              <a:gd name="connsiteX1" fmla="*/ 2108422 w 2778095"/>
              <a:gd name="connsiteY1" fmla="*/ 3237298 h 4139140"/>
              <a:gd name="connsiteX2" fmla="*/ 1836748 w 2778095"/>
              <a:gd name="connsiteY2" fmla="*/ 967063 h 4139140"/>
              <a:gd name="connsiteX3" fmla="*/ 1455753 w 2778095"/>
              <a:gd name="connsiteY3" fmla="*/ 967063 h 4139140"/>
              <a:gd name="connsiteX4" fmla="*/ 2116924 w 2778095"/>
              <a:gd name="connsiteY4" fmla="*/ 0 h 4139140"/>
              <a:gd name="connsiteX5" fmla="*/ 2778095 w 2778095"/>
              <a:gd name="connsiteY5" fmla="*/ 967063 h 4139140"/>
              <a:gd name="connsiteX6" fmla="*/ 2397100 w 2778095"/>
              <a:gd name="connsiteY6" fmla="*/ 967063 h 4139140"/>
              <a:gd name="connsiteX7" fmla="*/ 2397100 w 2778095"/>
              <a:gd name="connsiteY7" fmla="*/ 3383573 h 4139140"/>
              <a:gd name="connsiteX8" fmla="*/ 83486 w 2778095"/>
              <a:gd name="connsiteY8" fmla="*/ 4139140 h 4139140"/>
              <a:gd name="connsiteX9" fmla="*/ 0 w 2778095"/>
              <a:gd name="connsiteY9" fmla="*/ 3719594 h 41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778095" h="4139140">
                <a:moveTo>
                  <a:pt x="0" y="3719594"/>
                </a:moveTo>
                <a:lnTo>
                  <a:pt x="2108422" y="3237298"/>
                </a:lnTo>
                <a:lnTo>
                  <a:pt x="1836748" y="967063"/>
                </a:lnTo>
                <a:lnTo>
                  <a:pt x="1455753" y="967063"/>
                </a:lnTo>
                <a:lnTo>
                  <a:pt x="2116924" y="0"/>
                </a:lnTo>
                <a:lnTo>
                  <a:pt x="2778095" y="967063"/>
                </a:lnTo>
                <a:lnTo>
                  <a:pt x="2397100" y="967063"/>
                </a:lnTo>
                <a:lnTo>
                  <a:pt x="2397100" y="3383573"/>
                </a:lnTo>
                <a:lnTo>
                  <a:pt x="83486" y="4139140"/>
                </a:lnTo>
                <a:lnTo>
                  <a:pt x="0" y="3719594"/>
                </a:lnTo>
                <a:close/>
              </a:path>
            </a:pathLst>
          </a:custGeom>
          <a:solidFill>
            <a:srgbClr val="17A13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426433" y="5570686"/>
            <a:ext cx="191591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defTabSz="457200"/>
            <a:r>
              <a:rPr lang="en-US" sz="5400" b="1" spc="50" dirty="0" smtClean="0">
                <a:ln w="11430"/>
                <a:gradFill>
                  <a:gsLst>
                    <a:gs pos="25000">
                      <a:srgbClr val="8FE28A">
                        <a:satMod val="155000"/>
                      </a:srgbClr>
                    </a:gs>
                    <a:gs pos="100000">
                      <a:srgbClr val="8FE28A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apyrus" pitchFamily="66" charset="0"/>
              </a:rPr>
              <a:t>63%!!!</a:t>
            </a:r>
            <a:endParaRPr lang="en-US" sz="5400" b="1" spc="50" dirty="0">
              <a:ln w="11430"/>
              <a:gradFill>
                <a:gsLst>
                  <a:gs pos="25000">
                    <a:srgbClr val="8FE28A">
                      <a:satMod val="155000"/>
                    </a:srgbClr>
                  </a:gs>
                  <a:gs pos="100000">
                    <a:srgbClr val="8FE28A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3609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zero waste programs" title="savo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5408" y="187002"/>
            <a:ext cx="6618592" cy="581931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63983" y="588279"/>
            <a:ext cx="2015231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2000" dirty="0">
                <a:solidFill>
                  <a:srgbClr val="002060"/>
                </a:solidFill>
                <a:ea typeface="Calibri"/>
                <a:cs typeface="Calibri"/>
              </a:rPr>
              <a:t>SAVOR has risen to the challenge of becoming a LEED certified facility trailblazing zero-waste programs that range from biodegradable eating utensils to composting kitchen scraps.</a:t>
            </a:r>
            <a:endParaRPr 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34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onverts food waste to water" title="Diane the Digeste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61307"/>
            <a:ext cx="7359588" cy="549669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258105" y="143222"/>
            <a:ext cx="569058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US" sz="2600" dirty="0" smtClean="0">
                <a:solidFill>
                  <a:srgbClr val="002060"/>
                </a:solidFill>
                <a:latin typeface="Elephant" pitchFamily="18" charset="0"/>
              </a:rPr>
              <a:t>“Diane the Digester” converts all of our organic food waste into water that can  be turned back into drinking water.</a:t>
            </a:r>
            <a:endParaRPr lang="en-US" sz="2600" dirty="0">
              <a:solidFill>
                <a:srgbClr val="002060"/>
              </a:solidFill>
              <a:latin typeface="Elephant" pitchFamily="18" charset="0"/>
            </a:endParaRPr>
          </a:p>
        </p:txBody>
      </p:sp>
      <p:sp>
        <p:nvSpPr>
          <p:cNvPr id="4" name="Rounded Rectangular Callout 3"/>
          <p:cNvSpPr/>
          <p:nvPr/>
        </p:nvSpPr>
        <p:spPr>
          <a:xfrm>
            <a:off x="563730" y="899398"/>
            <a:ext cx="2281561" cy="1873189"/>
          </a:xfrm>
          <a:prstGeom prst="wedgeRoundRectCallout">
            <a:avLst>
              <a:gd name="adj1" fmla="val 50762"/>
              <a:gd name="adj2" fmla="val 79562"/>
              <a:gd name="adj3" fmla="val 16667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/>
            <a:r>
              <a:rPr lang="en-US" sz="2400" dirty="0" smtClean="0">
                <a:solidFill>
                  <a:prstClr val="black"/>
                </a:solidFill>
                <a:latin typeface="Arial Rounded MT Bold" pitchFamily="34" charset="0"/>
              </a:rPr>
              <a:t>I can digest 100 pounds of organic waste in 1 hour!</a:t>
            </a:r>
            <a:endParaRPr lang="en-US" sz="2400" dirty="0">
              <a:solidFill>
                <a:prstClr val="black"/>
              </a:solidFill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41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eflects heat" title="white roo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1802" y="1455938"/>
            <a:ext cx="6884845" cy="599846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0" y="399494"/>
            <a:ext cx="523782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2800" dirty="0" smtClean="0">
                <a:solidFill>
                  <a:srgbClr val="002060"/>
                </a:solidFill>
                <a:latin typeface="Berlin Sans FB" pitchFamily="34" charset="0"/>
              </a:rPr>
              <a:t>White roof reflects the sun’s heat and saves the building on cooling energy.</a:t>
            </a:r>
            <a:endParaRPr lang="en-US" sz="2800" dirty="0">
              <a:solidFill>
                <a:srgbClr val="002060"/>
              </a:solidFill>
              <a:latin typeface="Berlin Sans FB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1553005"/>
      </p:ext>
    </p:extLst>
  </p:cSld>
  <p:clrMapOvr>
    <a:masterClrMapping/>
  </p:clrMapOvr>
  <p:transition spd="slow"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recycled materials" title="sustainable furnitur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805996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805997" y="523782"/>
            <a:ext cx="3338003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3200" dirty="0" smtClean="0">
                <a:solidFill>
                  <a:srgbClr val="002060"/>
                </a:solidFill>
                <a:latin typeface="Segoe Script" pitchFamily="34" charset="0"/>
              </a:rPr>
              <a:t>SUSTAINABLE FURNITURE</a:t>
            </a:r>
          </a:p>
          <a:p>
            <a:pPr defTabSz="457200"/>
            <a:endParaRPr lang="en-US" sz="3200" dirty="0" smtClean="0">
              <a:solidFill>
                <a:srgbClr val="002060"/>
              </a:solidFill>
              <a:latin typeface="Segoe Script" pitchFamily="34" charset="0"/>
            </a:endParaRPr>
          </a:p>
          <a:p>
            <a:pPr marL="457200" indent="-457200" defTabSz="457200">
              <a:buFont typeface="Wingdings" pitchFamily="2" charset="2"/>
              <a:buChar char="ü"/>
            </a:pPr>
            <a:r>
              <a:rPr lang="en-US" sz="2800" dirty="0" err="1" smtClean="0">
                <a:solidFill>
                  <a:srgbClr val="002060"/>
                </a:solidFill>
                <a:latin typeface="Berlin Sans FB" pitchFamily="34" charset="0"/>
              </a:rPr>
              <a:t>GreenGuard</a:t>
            </a:r>
            <a:r>
              <a:rPr lang="en-US" sz="2800" dirty="0" smtClean="0">
                <a:solidFill>
                  <a:srgbClr val="002060"/>
                </a:solidFill>
                <a:latin typeface="Berlin Sans FB" pitchFamily="34" charset="0"/>
              </a:rPr>
              <a:t> Certified</a:t>
            </a:r>
          </a:p>
          <a:p>
            <a:pPr marL="457200" indent="-457200" defTabSz="457200">
              <a:buFont typeface="Wingdings" pitchFamily="2" charset="2"/>
              <a:buChar char="ü"/>
            </a:pPr>
            <a:r>
              <a:rPr lang="en-US" sz="2800" dirty="0" smtClean="0">
                <a:solidFill>
                  <a:srgbClr val="002060"/>
                </a:solidFill>
                <a:latin typeface="Berlin Sans FB" pitchFamily="34" charset="0"/>
              </a:rPr>
              <a:t>Made from &gt;20% recycled materials</a:t>
            </a:r>
          </a:p>
          <a:p>
            <a:pPr marL="457200" indent="-457200" defTabSz="457200">
              <a:buFont typeface="Wingdings" pitchFamily="2" charset="2"/>
              <a:buChar char="ü"/>
            </a:pPr>
            <a:r>
              <a:rPr lang="en-US" sz="2800" dirty="0" smtClean="0">
                <a:solidFill>
                  <a:srgbClr val="002060"/>
                </a:solidFill>
                <a:latin typeface="Berlin Sans FB" pitchFamily="34" charset="0"/>
              </a:rPr>
              <a:t>Will be able to recycle &gt;80% at end of life</a:t>
            </a:r>
            <a:endParaRPr lang="en-US" sz="2800" dirty="0">
              <a:solidFill>
                <a:srgbClr val="002060"/>
              </a:solidFill>
              <a:latin typeface="Berlin Sans FB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03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wipe/>
      </p:transition>
    </mc:Choice>
    <mc:Fallback xmlns="">
      <p:transition spd="slow">
        <p:wip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etter lights and water use" title="Atrium photo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249508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130781" y="5380672"/>
            <a:ext cx="4118727" cy="1477328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defTabSz="457200"/>
            <a:r>
              <a:rPr lang="en-US" dirty="0" smtClean="0">
                <a:solidFill>
                  <a:srgbClr val="000099"/>
                </a:solidFill>
                <a:latin typeface="Arial Rounded MT Bold" pitchFamily="34" charset="0"/>
              </a:rPr>
              <a:t>All pre-function and meeting room lighting was upgraded to more energy-efficient lamps.  We also upgraded our plumbing fixtures to save 45% on water use.</a:t>
            </a:r>
            <a:endParaRPr lang="en-US" dirty="0">
              <a:solidFill>
                <a:srgbClr val="000099"/>
              </a:solidFill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0455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eed gold" title="LEED logo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8774" y="721310"/>
            <a:ext cx="5244484" cy="5244484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6143347" y="594803"/>
            <a:ext cx="1154097" cy="275209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831018" y="616997"/>
            <a:ext cx="1870969" cy="23082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5513033" y="594803"/>
            <a:ext cx="257452" cy="25301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1731146" y="949911"/>
            <a:ext cx="221941" cy="35510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1731146" y="3879542"/>
            <a:ext cx="221941" cy="37286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6995604" y="4252404"/>
            <a:ext cx="195309" cy="25745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4927107" y="616997"/>
            <a:ext cx="1322773" cy="23082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6365289" y="1225118"/>
            <a:ext cx="710213" cy="42612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6862439" y="5175682"/>
            <a:ext cx="435005" cy="43500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05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owing outside area" title="convention center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37186"/>
            <a:ext cx="9144000" cy="4983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52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Box 6"/>
          <p:cNvSpPr txBox="1">
            <a:spLocks noChangeArrowheads="1"/>
          </p:cNvSpPr>
          <p:nvPr/>
        </p:nvSpPr>
        <p:spPr bwMode="auto">
          <a:xfrm>
            <a:off x="2209800" y="2286000"/>
            <a:ext cx="57150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000" b="1" smtClean="0">
                <a:solidFill>
                  <a:srgbClr val="000000"/>
                </a:solidFill>
                <a:latin typeface="Arial" charset="0"/>
              </a:rPr>
              <a:t>…A Vibrant, Growing and Green Community</a:t>
            </a:r>
          </a:p>
        </p:txBody>
      </p:sp>
      <p:sp>
        <p:nvSpPr>
          <p:cNvPr id="9219" name="TextBox 4" descr="word art showing the word challenges" title="challenges"/>
          <p:cNvSpPr txBox="1">
            <a:spLocks noChangeArrowheads="1"/>
          </p:cNvSpPr>
          <p:nvPr/>
        </p:nvSpPr>
        <p:spPr bwMode="auto">
          <a:xfrm rot="-2700000">
            <a:off x="2284413" y="2814638"/>
            <a:ext cx="5305425" cy="1108075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6600" dirty="0" smtClean="0">
                <a:solidFill>
                  <a:srgbClr val="FFFFFF"/>
                </a:solidFill>
                <a:latin typeface="Stencil" pitchFamily="82" charset="0"/>
              </a:rPr>
              <a:t>Challeng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4794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23086629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2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2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2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92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905000" y="762000"/>
            <a:ext cx="6781800" cy="498633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2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Municipal Infrastructure Study…</a:t>
            </a: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…The most serious infrastructure challenges facing citi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…How infrastructure budgets are being affected by th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global economic crisi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…Stimulus infrastructure prioritie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…Promising technologies for reducing the impact of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infrastructure on climate change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…Measures to help adapt to the impacts of climate change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…Improving sustainable infrastructure investments through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     metropolitan planning and decision making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6488113"/>
            <a:ext cx="5175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CH</a:t>
            </a:r>
          </a:p>
        </p:txBody>
      </p:sp>
    </p:spTree>
    <p:extLst>
      <p:ext uri="{BB962C8B-B14F-4D97-AF65-F5344CB8AC3E}">
        <p14:creationId xmlns:p14="http://schemas.microsoft.com/office/powerpoint/2010/main" val="287150783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MdZKKE.UGVHw65WBshf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BS-Template-Slides">
  <a:themeElements>
    <a:clrScheme name="BBS-Template-Slide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BS-Template-Slides">
      <a:majorFont>
        <a:latin typeface="Helvetic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BS-Template-Slid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S-Template-Slid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S-Template-Slid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S-Template-Slid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S-Template-Slid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S-Template-Slid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BS-Template-Slid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BS-Template-Slid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BS-Template-Slid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BS-Template-Slid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BS-Template-Slid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BS-Template-Slid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pring">
  <a:themeElements>
    <a:clrScheme name="Spring">
      <a:dk1>
        <a:sysClr val="windowText" lastClr="000000"/>
      </a:dk1>
      <a:lt1>
        <a:sysClr val="window" lastClr="FFFFFF"/>
      </a:lt1>
      <a:dk2>
        <a:srgbClr val="66822D"/>
      </a:dk2>
      <a:lt2>
        <a:srgbClr val="BEEA73"/>
      </a:lt2>
      <a:accent1>
        <a:srgbClr val="C1EC76"/>
      </a:accent1>
      <a:accent2>
        <a:srgbClr val="8FE28A"/>
      </a:accent2>
      <a:accent3>
        <a:srgbClr val="F3BF45"/>
      </a:accent3>
      <a:accent4>
        <a:srgbClr val="F47E5A"/>
      </a:accent4>
      <a:accent5>
        <a:srgbClr val="F489CF"/>
      </a:accent5>
      <a:accent6>
        <a:srgbClr val="B56FF4"/>
      </a:accent6>
      <a:hlink>
        <a:srgbClr val="408080"/>
      </a:hlink>
      <a:folHlink>
        <a:srgbClr val="5EAEAE"/>
      </a:folHlink>
    </a:clrScheme>
    <a:fontScheme name="Spring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pring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lumMod val="110000"/>
              </a:schemeClr>
            </a:gs>
            <a:gs pos="100000">
              <a:schemeClr val="phClr">
                <a:tint val="100000"/>
                <a:shade val="85000"/>
                <a:lumMod val="8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7000"/>
                <a:satMod val="100000"/>
                <a:lumMod val="110000"/>
              </a:schemeClr>
            </a:gs>
            <a:gs pos="100000">
              <a:schemeClr val="phClr">
                <a:shade val="85000"/>
                <a:lumMod val="80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88900" dist="38100" dir="5400000" algn="ctr" rotWithShape="0">
              <a:srgbClr val="000000">
                <a:alpha val="65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5400000"/>
            </a:lightRig>
          </a:scene3d>
          <a:sp3d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100000"/>
                <a:hueMod val="100000"/>
                <a:satMod val="106000"/>
                <a:lumMod val="100000"/>
              </a:schemeClr>
            </a:gs>
            <a:gs pos="88000">
              <a:schemeClr val="phClr">
                <a:tint val="90000"/>
                <a:shade val="68000"/>
                <a:hueMod val="100000"/>
                <a:satMod val="114000"/>
                <a:lumMod val="74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4000"/>
                <a:shade val="100000"/>
                <a:hueMod val="100000"/>
                <a:satMod val="118000"/>
                <a:lumMod val="100000"/>
              </a:schemeClr>
            </a:gs>
            <a:gs pos="100000">
              <a:schemeClr val="phClr">
                <a:tint val="98000"/>
                <a:shade val="68000"/>
                <a:hueMod val="100000"/>
                <a:satMod val="118000"/>
                <a:lumMod val="82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pptCFC2.tm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sie_ppt_exp_gray_DE">
  <a:themeElements>
    <a:clrScheme name="1_sie_ppt_exp_gray_DE 1">
      <a:dk1>
        <a:srgbClr val="000000"/>
      </a:dk1>
      <a:lt1>
        <a:srgbClr val="D0D3DA"/>
      </a:lt1>
      <a:dk2>
        <a:srgbClr val="949EAA"/>
      </a:dk2>
      <a:lt2>
        <a:srgbClr val="FFFFFF"/>
      </a:lt2>
      <a:accent1>
        <a:srgbClr val="949EAA"/>
      </a:accent1>
      <a:accent2>
        <a:srgbClr val="CC0000"/>
      </a:accent2>
      <a:accent3>
        <a:srgbClr val="E4E6EA"/>
      </a:accent3>
      <a:accent4>
        <a:srgbClr val="000000"/>
      </a:accent4>
      <a:accent5>
        <a:srgbClr val="C8CCD2"/>
      </a:accent5>
      <a:accent6>
        <a:srgbClr val="B90000"/>
      </a:accent6>
      <a:hlink>
        <a:srgbClr val="3366AA"/>
      </a:hlink>
      <a:folHlink>
        <a:srgbClr val="3366AA"/>
      </a:folHlink>
    </a:clrScheme>
    <a:fontScheme name="1_sie_ppt_exp_gray_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ie_ppt_exp_gray_DE 1">
        <a:dk1>
          <a:srgbClr val="000000"/>
        </a:dk1>
        <a:lt1>
          <a:srgbClr val="D0D3DA"/>
        </a:lt1>
        <a:dk2>
          <a:srgbClr val="949EAA"/>
        </a:dk2>
        <a:lt2>
          <a:srgbClr val="FFFFFF"/>
        </a:lt2>
        <a:accent1>
          <a:srgbClr val="949EAA"/>
        </a:accent1>
        <a:accent2>
          <a:srgbClr val="CC0000"/>
        </a:accent2>
        <a:accent3>
          <a:srgbClr val="E4E6EA"/>
        </a:accent3>
        <a:accent4>
          <a:srgbClr val="000000"/>
        </a:accent4>
        <a:accent5>
          <a:srgbClr val="C8CCD2"/>
        </a:accent5>
        <a:accent6>
          <a:srgbClr val="B90000"/>
        </a:accent6>
        <a:hlink>
          <a:srgbClr val="3366AA"/>
        </a:hlink>
        <a:folHlink>
          <a:srgbClr val="3366A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FC34D11962124BB605263B14901E48" ma:contentTypeVersion="1" ma:contentTypeDescription="Create a new document." ma:contentTypeScope="" ma:versionID="0f277a4b08256304fef49638dad19bc5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8d109c30406401b702de0f04961781b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3A308A90-2F00-4CEB-8553-F94461FAB56D}"/>
</file>

<file path=customXml/itemProps2.xml><?xml version="1.0" encoding="utf-8"?>
<ds:datastoreItem xmlns:ds="http://schemas.openxmlformats.org/officeDocument/2006/customXml" ds:itemID="{98D51223-1409-4A79-9665-45E21B31D61B}"/>
</file>

<file path=customXml/itemProps3.xml><?xml version="1.0" encoding="utf-8"?>
<ds:datastoreItem xmlns:ds="http://schemas.openxmlformats.org/officeDocument/2006/customXml" ds:itemID="{4165C420-74E7-4120-9490-4D1A9D951AF8}"/>
</file>

<file path=docProps/app.xml><?xml version="1.0" encoding="utf-8"?>
<Properties xmlns="http://schemas.openxmlformats.org/officeDocument/2006/extended-properties" xmlns:vt="http://schemas.openxmlformats.org/officeDocument/2006/docPropsVTypes">
  <TotalTime>144</TotalTime>
  <Words>2144</Words>
  <Application>Microsoft Office PowerPoint</Application>
  <PresentationFormat>On-screen Show (4:3)</PresentationFormat>
  <Paragraphs>398</Paragraphs>
  <Slides>79</Slides>
  <Notes>16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79</vt:i4>
      </vt:variant>
    </vt:vector>
  </HeadingPairs>
  <TitlesOfParts>
    <vt:vector size="85" baseType="lpstr">
      <vt:lpstr>Office Theme</vt:lpstr>
      <vt:lpstr>BBS-Template-Slides</vt:lpstr>
      <vt:lpstr>Spring</vt:lpstr>
      <vt:lpstr>pptCFC2.tmp</vt:lpstr>
      <vt:lpstr>Default Design</vt:lpstr>
      <vt:lpstr>1_sie_ppt_exp_gray_DE</vt:lpstr>
      <vt:lpstr>PowerPoint Presentation</vt:lpstr>
      <vt:lpstr>Siemens’ Public-Private Partnerships in Sustainability</vt:lpstr>
      <vt:lpstr>PowerPoint Presentation</vt:lpstr>
      <vt:lpstr>Solar – The German Experience</vt:lpstr>
      <vt:lpstr>Solar – The German Experience How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Just Like Broward County…</vt:lpstr>
      <vt:lpstr>PowerPoint Presentation</vt:lpstr>
      <vt:lpstr>Challenges of a vibrant,  growing and green community…..</vt:lpstr>
      <vt:lpstr>PowerPoint Presentation</vt:lpstr>
      <vt:lpstr>PowerPoint Presentation</vt:lpstr>
      <vt:lpstr>PowerPoint Presentation</vt:lpstr>
      <vt:lpstr>PowerPoint Presentation</vt:lpstr>
      <vt:lpstr>Florida Process</vt:lpstr>
      <vt:lpstr>How Do We Pay for the Improvements?</vt:lpstr>
      <vt:lpstr>PowerPoint Presentation</vt:lpstr>
      <vt:lpstr>PowerPoint Presentation</vt:lpstr>
      <vt:lpstr>Broward County Experience….</vt:lpstr>
      <vt:lpstr>PowerPoint Presentation</vt:lpstr>
      <vt:lpstr>PowerPoint Presentation</vt:lpstr>
      <vt:lpstr>PowerPoint Presentation</vt:lpstr>
      <vt:lpstr>Waste Management’s Investment in Renewable Energy</vt:lpstr>
      <vt:lpstr>More Efficiently Managing Public Space Waste &amp; Recycling Collection through Information and the Software-Enabled BigBelly System   November 2011</vt:lpstr>
      <vt:lpstr>The full “system costs” of trash collection can be surprisingly high</vt:lpstr>
      <vt:lpstr>Without information, overflow &amp; litter risks are (mostly) buffered by over-resourcing …</vt:lpstr>
      <vt:lpstr>Leveraging the power of the BigBelly Solar Smart Grid for Waste &amp; Recycling TM to dramatically improve operations performance</vt:lpstr>
      <vt:lpstr>PowerPoint Presentation</vt:lpstr>
      <vt:lpstr>Information is the Answer – delivering visibility, transparency and control</vt:lpstr>
      <vt:lpstr>The BigBelly System: slashing collections using information tools and software-enabled stations</vt:lpstr>
      <vt:lpstr>“A Solution for Every Corner”</vt:lpstr>
      <vt:lpstr>PowerPoint Presentation</vt:lpstr>
      <vt:lpstr>PowerPoint Presentation</vt:lpstr>
      <vt:lpstr>Key System &amp; System Pricing Principles  </vt:lpstr>
      <vt:lpstr>JM Family Enterprises: Local Business Leader in Sustainabi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JM Lexus New Car Showroom  </vt:lpstr>
      <vt:lpstr>Environmental Offsets</vt:lpstr>
      <vt:lpstr>Solar Production Monitoring</vt:lpstr>
      <vt:lpstr>Welcome to the Greater Fort Lauderdale – Broward County Convention Center LEED Gold Faci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roward Count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o Solar Fest</dc:title>
  <dc:creator>sstrauss</dc:creator>
  <cp:lastModifiedBy>sstrauss</cp:lastModifiedBy>
  <cp:revision>29</cp:revision>
  <dcterms:created xsi:type="dcterms:W3CDTF">2013-01-22T19:39:48Z</dcterms:created>
  <dcterms:modified xsi:type="dcterms:W3CDTF">2013-02-01T19:57:22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arkAsFinal">
    <vt:bool>true</vt:bool>
  </property>
  <property fmtid="{D5CDD505-2E9C-101B-9397-08002B2CF9AE}" pid="3" name="ContentTypeId">
    <vt:lpwstr>0x0101009CFC34D11962124BB605263B14901E48</vt:lpwstr>
  </property>
</Properties>
</file>